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Lst>
  <p:notesMasterIdLst>
    <p:notesMasterId r:id="rId10"/>
  </p:notesMasterIdLst>
  <p:handoutMasterIdLst>
    <p:handoutMasterId r:id="rId11"/>
  </p:handoutMasterIdLst>
  <p:sldIdLst>
    <p:sldId id="2147307472" r:id="rId5"/>
    <p:sldId id="838840129" r:id="rId6"/>
    <p:sldId id="2147307521" r:id="rId7"/>
    <p:sldId id="2147307528" r:id="rId8"/>
    <p:sldId id="2147307526" r:id="rId9"/>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DA70"/>
    <a:srgbClr val="B20E12"/>
    <a:srgbClr val="B2DE82"/>
    <a:srgbClr val="C9E8A6"/>
    <a:srgbClr val="7FFFF8"/>
    <a:srgbClr val="B4DF85"/>
    <a:srgbClr val="FFFFFF"/>
    <a:srgbClr val="F9F9F9"/>
    <a:srgbClr val="E7F5D7"/>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9503EC-57AE-4872-BD9A-C98FEA764F85}" v="2" dt="2021-07-08T12:40:53.43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9" autoAdjust="0"/>
    <p:restoredTop sz="90995" autoAdjust="0"/>
  </p:normalViewPr>
  <p:slideViewPr>
    <p:cSldViewPr snapToGrid="0">
      <p:cViewPr varScale="1">
        <p:scale>
          <a:sx n="76" d="100"/>
          <a:sy n="76" d="100"/>
        </p:scale>
        <p:origin x="1004" y="40"/>
      </p:cViewPr>
      <p:guideLst>
        <p:guide orient="horz" pos="962"/>
        <p:guide pos="748"/>
        <p:guide orient="horz" pos="2255"/>
      </p:guideLst>
    </p:cSldViewPr>
  </p:slideViewPr>
  <p:outlineViewPr>
    <p:cViewPr>
      <p:scale>
        <a:sx n="33" d="100"/>
        <a:sy n="33" d="100"/>
      </p:scale>
      <p:origin x="0" y="-272"/>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shit Ajwaliya" userId="d6171631-3d08-453d-8afd-2dc62a5026e2" providerId="ADAL" clId="{070CB3C7-B6DD-4D23-87E5-8A9ABB279D69}"/>
  </pc:docChgLst>
  <pc:docChgLst>
    <pc:chgData name="Nishit Ajwaliya" userId="d6171631-3d08-453d-8afd-2dc62a5026e2" providerId="ADAL" clId="{6505E94C-63E7-437A-9BC6-FC4B9F6B4C42}"/>
  </pc:docChgLst>
  <pc:docChgLst>
    <pc:chgData name="Ajwaliya, Nishit" userId="d6171631-3d08-453d-8afd-2dc62a5026e2" providerId="ADAL" clId="{D49503EC-57AE-4872-BD9A-C98FEA764F85}"/>
    <pc:docChg chg="addSld delSld modSld">
      <pc:chgData name="Ajwaliya, Nishit" userId="d6171631-3d08-453d-8afd-2dc62a5026e2" providerId="ADAL" clId="{D49503EC-57AE-4872-BD9A-C98FEA764F85}" dt="2021-07-08T12:43:59.907" v="47" actId="2696"/>
      <pc:docMkLst>
        <pc:docMk/>
      </pc:docMkLst>
      <pc:sldChg chg="del">
        <pc:chgData name="Ajwaliya, Nishit" userId="d6171631-3d08-453d-8afd-2dc62a5026e2" providerId="ADAL" clId="{D49503EC-57AE-4872-BD9A-C98FEA764F85}" dt="2021-07-08T12:39:07.915" v="0" actId="2696"/>
        <pc:sldMkLst>
          <pc:docMk/>
          <pc:sldMk cId="2874908917" sldId="493"/>
        </pc:sldMkLst>
      </pc:sldChg>
      <pc:sldChg chg="del">
        <pc:chgData name="Ajwaliya, Nishit" userId="d6171631-3d08-453d-8afd-2dc62a5026e2" providerId="ADAL" clId="{D49503EC-57AE-4872-BD9A-C98FEA764F85}" dt="2021-07-08T12:39:16.369" v="5" actId="2696"/>
        <pc:sldMkLst>
          <pc:docMk/>
          <pc:sldMk cId="559336056" sldId="550"/>
        </pc:sldMkLst>
      </pc:sldChg>
      <pc:sldChg chg="del">
        <pc:chgData name="Ajwaliya, Nishit" userId="d6171631-3d08-453d-8afd-2dc62a5026e2" providerId="ADAL" clId="{D49503EC-57AE-4872-BD9A-C98FEA764F85}" dt="2021-07-08T12:39:24.221" v="18" actId="2696"/>
        <pc:sldMkLst>
          <pc:docMk/>
          <pc:sldMk cId="3297465589" sldId="575"/>
        </pc:sldMkLst>
      </pc:sldChg>
      <pc:sldChg chg="del">
        <pc:chgData name="Ajwaliya, Nishit" userId="d6171631-3d08-453d-8afd-2dc62a5026e2" providerId="ADAL" clId="{D49503EC-57AE-4872-BD9A-C98FEA764F85}" dt="2021-07-08T12:39:29.667" v="30" actId="2696"/>
        <pc:sldMkLst>
          <pc:docMk/>
          <pc:sldMk cId="3777256162" sldId="583"/>
        </pc:sldMkLst>
      </pc:sldChg>
      <pc:sldChg chg="del">
        <pc:chgData name="Ajwaliya, Nishit" userId="d6171631-3d08-453d-8afd-2dc62a5026e2" providerId="ADAL" clId="{D49503EC-57AE-4872-BD9A-C98FEA764F85}" dt="2021-07-08T12:39:17.556" v="8" actId="2696"/>
        <pc:sldMkLst>
          <pc:docMk/>
          <pc:sldMk cId="3452300855" sldId="594"/>
        </pc:sldMkLst>
      </pc:sldChg>
      <pc:sldChg chg="del">
        <pc:chgData name="Ajwaliya, Nishit" userId="d6171631-3d08-453d-8afd-2dc62a5026e2" providerId="ADAL" clId="{D49503EC-57AE-4872-BD9A-C98FEA764F85}" dt="2021-07-08T12:39:18.637" v="11" actId="2696"/>
        <pc:sldMkLst>
          <pc:docMk/>
          <pc:sldMk cId="3013704212" sldId="6868"/>
        </pc:sldMkLst>
      </pc:sldChg>
      <pc:sldChg chg="del">
        <pc:chgData name="Ajwaliya, Nishit" userId="d6171631-3d08-453d-8afd-2dc62a5026e2" providerId="ADAL" clId="{D49503EC-57AE-4872-BD9A-C98FEA764F85}" dt="2021-07-08T12:39:17.318" v="7" actId="2696"/>
        <pc:sldMkLst>
          <pc:docMk/>
          <pc:sldMk cId="2709382093" sldId="6869"/>
        </pc:sldMkLst>
      </pc:sldChg>
      <pc:sldChg chg="del">
        <pc:chgData name="Ajwaliya, Nishit" userId="d6171631-3d08-453d-8afd-2dc62a5026e2" providerId="ADAL" clId="{D49503EC-57AE-4872-BD9A-C98FEA764F85}" dt="2021-07-08T12:39:24.004" v="17" actId="2696"/>
        <pc:sldMkLst>
          <pc:docMk/>
          <pc:sldMk cId="3363999467" sldId="6870"/>
        </pc:sldMkLst>
      </pc:sldChg>
      <pc:sldChg chg="del">
        <pc:chgData name="Ajwaliya, Nishit" userId="d6171631-3d08-453d-8afd-2dc62a5026e2" providerId="ADAL" clId="{D49503EC-57AE-4872-BD9A-C98FEA764F85}" dt="2021-07-08T12:39:08.554" v="1" actId="2696"/>
        <pc:sldMkLst>
          <pc:docMk/>
          <pc:sldMk cId="105799718" sldId="6872"/>
        </pc:sldMkLst>
      </pc:sldChg>
      <pc:sldChg chg="del">
        <pc:chgData name="Ajwaliya, Nishit" userId="d6171631-3d08-453d-8afd-2dc62a5026e2" providerId="ADAL" clId="{D49503EC-57AE-4872-BD9A-C98FEA764F85}" dt="2021-07-08T12:39:09.757" v="2" actId="2696"/>
        <pc:sldMkLst>
          <pc:docMk/>
          <pc:sldMk cId="892317960" sldId="6877"/>
        </pc:sldMkLst>
      </pc:sldChg>
      <pc:sldChg chg="del">
        <pc:chgData name="Ajwaliya, Nishit" userId="d6171631-3d08-453d-8afd-2dc62a5026e2" providerId="ADAL" clId="{D49503EC-57AE-4872-BD9A-C98FEA764F85}" dt="2021-07-08T12:39:18.844" v="12" actId="2696"/>
        <pc:sldMkLst>
          <pc:docMk/>
          <pc:sldMk cId="3238259597" sldId="6879"/>
        </pc:sldMkLst>
      </pc:sldChg>
      <pc:sldChg chg="del">
        <pc:chgData name="Ajwaliya, Nishit" userId="d6171631-3d08-453d-8afd-2dc62a5026e2" providerId="ADAL" clId="{D49503EC-57AE-4872-BD9A-C98FEA764F85}" dt="2021-07-08T12:39:16.569" v="6" actId="2696"/>
        <pc:sldMkLst>
          <pc:docMk/>
          <pc:sldMk cId="544382313" sldId="6884"/>
        </pc:sldMkLst>
      </pc:sldChg>
      <pc:sldChg chg="del">
        <pc:chgData name="Ajwaliya, Nishit" userId="d6171631-3d08-453d-8afd-2dc62a5026e2" providerId="ADAL" clId="{D49503EC-57AE-4872-BD9A-C98FEA764F85}" dt="2021-07-08T12:39:28.817" v="27" actId="2696"/>
        <pc:sldMkLst>
          <pc:docMk/>
          <pc:sldMk cId="2367798465" sldId="6890"/>
        </pc:sldMkLst>
      </pc:sldChg>
      <pc:sldChg chg="del">
        <pc:chgData name="Ajwaliya, Nishit" userId="d6171631-3d08-453d-8afd-2dc62a5026e2" providerId="ADAL" clId="{D49503EC-57AE-4872-BD9A-C98FEA764F85}" dt="2021-07-08T12:39:19.593" v="13" actId="2696"/>
        <pc:sldMkLst>
          <pc:docMk/>
          <pc:sldMk cId="2337477801" sldId="6895"/>
        </pc:sldMkLst>
      </pc:sldChg>
      <pc:sldChg chg="del">
        <pc:chgData name="Ajwaliya, Nishit" userId="d6171631-3d08-453d-8afd-2dc62a5026e2" providerId="ADAL" clId="{D49503EC-57AE-4872-BD9A-C98FEA764F85}" dt="2021-07-08T12:39:28.118" v="25" actId="2696"/>
        <pc:sldMkLst>
          <pc:docMk/>
          <pc:sldMk cId="728976836" sldId="6896"/>
        </pc:sldMkLst>
      </pc:sldChg>
      <pc:sldChg chg="del">
        <pc:chgData name="Ajwaliya, Nishit" userId="d6171631-3d08-453d-8afd-2dc62a5026e2" providerId="ADAL" clId="{D49503EC-57AE-4872-BD9A-C98FEA764F85}" dt="2021-07-08T12:43:59.907" v="47" actId="2696"/>
        <pc:sldMkLst>
          <pc:docMk/>
          <pc:sldMk cId="1549471513" sldId="6897"/>
        </pc:sldMkLst>
      </pc:sldChg>
      <pc:sldChg chg="del">
        <pc:chgData name="Ajwaliya, Nishit" userId="d6171631-3d08-453d-8afd-2dc62a5026e2" providerId="ADAL" clId="{D49503EC-57AE-4872-BD9A-C98FEA764F85}" dt="2021-07-08T12:39:16.215" v="4" actId="2696"/>
        <pc:sldMkLst>
          <pc:docMk/>
          <pc:sldMk cId="2165238967" sldId="6898"/>
        </pc:sldMkLst>
      </pc:sldChg>
      <pc:sldChg chg="del">
        <pc:chgData name="Ajwaliya, Nishit" userId="d6171631-3d08-453d-8afd-2dc62a5026e2" providerId="ADAL" clId="{D49503EC-57AE-4872-BD9A-C98FEA764F85}" dt="2021-07-08T12:39:29.203" v="29" actId="2696"/>
        <pc:sldMkLst>
          <pc:docMk/>
          <pc:sldMk cId="1568280710" sldId="6899"/>
        </pc:sldMkLst>
      </pc:sldChg>
      <pc:sldChg chg="del">
        <pc:chgData name="Ajwaliya, Nishit" userId="d6171631-3d08-453d-8afd-2dc62a5026e2" providerId="ADAL" clId="{D49503EC-57AE-4872-BD9A-C98FEA764F85}" dt="2021-07-08T12:39:19.825" v="14" actId="2696"/>
        <pc:sldMkLst>
          <pc:docMk/>
          <pc:sldMk cId="978048152" sldId="838840122"/>
        </pc:sldMkLst>
      </pc:sldChg>
      <pc:sldChg chg="add">
        <pc:chgData name="Ajwaliya, Nishit" userId="d6171631-3d08-453d-8afd-2dc62a5026e2" providerId="ADAL" clId="{D49503EC-57AE-4872-BD9A-C98FEA764F85}" dt="2021-07-08T12:40:16.786" v="35"/>
        <pc:sldMkLst>
          <pc:docMk/>
          <pc:sldMk cId="3608127331" sldId="838840129"/>
        </pc:sldMkLst>
      </pc:sldChg>
      <pc:sldChg chg="del">
        <pc:chgData name="Ajwaliya, Nishit" userId="d6171631-3d08-453d-8afd-2dc62a5026e2" providerId="ADAL" clId="{D49503EC-57AE-4872-BD9A-C98FEA764F85}" dt="2021-07-08T12:39:29.906" v="31" actId="2696"/>
        <pc:sldMkLst>
          <pc:docMk/>
          <pc:sldMk cId="3641160751" sldId="2147307451"/>
        </pc:sldMkLst>
      </pc:sldChg>
      <pc:sldChg chg="del">
        <pc:chgData name="Ajwaliya, Nishit" userId="d6171631-3d08-453d-8afd-2dc62a5026e2" providerId="ADAL" clId="{D49503EC-57AE-4872-BD9A-C98FEA764F85}" dt="2021-07-08T12:39:29.049" v="28" actId="2696"/>
        <pc:sldMkLst>
          <pc:docMk/>
          <pc:sldMk cId="249990709" sldId="2147307467"/>
        </pc:sldMkLst>
      </pc:sldChg>
      <pc:sldChg chg="del">
        <pc:chgData name="Ajwaliya, Nishit" userId="d6171631-3d08-453d-8afd-2dc62a5026e2" providerId="ADAL" clId="{D49503EC-57AE-4872-BD9A-C98FEA764F85}" dt="2021-07-08T12:39:22.799" v="15" actId="2696"/>
        <pc:sldMkLst>
          <pc:docMk/>
          <pc:sldMk cId="2717343237" sldId="2147307469"/>
        </pc:sldMkLst>
      </pc:sldChg>
      <pc:sldChg chg="del">
        <pc:chgData name="Ajwaliya, Nishit" userId="d6171631-3d08-453d-8afd-2dc62a5026e2" providerId="ADAL" clId="{D49503EC-57AE-4872-BD9A-C98FEA764F85}" dt="2021-07-08T12:39:27.715" v="23" actId="2696"/>
        <pc:sldMkLst>
          <pc:docMk/>
          <pc:sldMk cId="1158991494" sldId="2147307470"/>
        </pc:sldMkLst>
      </pc:sldChg>
      <pc:sldChg chg="del">
        <pc:chgData name="Ajwaliya, Nishit" userId="d6171631-3d08-453d-8afd-2dc62a5026e2" providerId="ADAL" clId="{D49503EC-57AE-4872-BD9A-C98FEA764F85}" dt="2021-07-08T12:39:17.988" v="9" actId="2696"/>
        <pc:sldMkLst>
          <pc:docMk/>
          <pc:sldMk cId="1406719353" sldId="2147307471"/>
        </pc:sldMkLst>
      </pc:sldChg>
      <pc:sldChg chg="modSp">
        <pc:chgData name="Ajwaliya, Nishit" userId="d6171631-3d08-453d-8afd-2dc62a5026e2" providerId="ADAL" clId="{D49503EC-57AE-4872-BD9A-C98FEA764F85}" dt="2021-07-08T12:43:11.151" v="46" actId="20577"/>
        <pc:sldMkLst>
          <pc:docMk/>
          <pc:sldMk cId="3767634103" sldId="2147307472"/>
        </pc:sldMkLst>
        <pc:spChg chg="mod">
          <ac:chgData name="Ajwaliya, Nishit" userId="d6171631-3d08-453d-8afd-2dc62a5026e2" providerId="ADAL" clId="{D49503EC-57AE-4872-BD9A-C98FEA764F85}" dt="2021-07-08T12:43:11.151" v="46" actId="20577"/>
          <ac:spMkLst>
            <pc:docMk/>
            <pc:sldMk cId="3767634103" sldId="2147307472"/>
            <ac:spMk id="4" creationId="{1747B4A7-E17D-45FE-B7D1-4C995A3D72AF}"/>
          </ac:spMkLst>
        </pc:spChg>
      </pc:sldChg>
      <pc:sldChg chg="del">
        <pc:chgData name="Ajwaliya, Nishit" userId="d6171631-3d08-453d-8afd-2dc62a5026e2" providerId="ADAL" clId="{D49503EC-57AE-4872-BD9A-C98FEA764F85}" dt="2021-07-08T12:39:18.188" v="10" actId="2696"/>
        <pc:sldMkLst>
          <pc:docMk/>
          <pc:sldMk cId="752986591" sldId="2147307473"/>
        </pc:sldMkLst>
      </pc:sldChg>
      <pc:sldChg chg="del">
        <pc:chgData name="Ajwaliya, Nishit" userId="d6171631-3d08-453d-8afd-2dc62a5026e2" providerId="ADAL" clId="{D49503EC-57AE-4872-BD9A-C98FEA764F85}" dt="2021-07-08T12:39:31.625" v="33" actId="2696"/>
        <pc:sldMkLst>
          <pc:docMk/>
          <pc:sldMk cId="3826229352" sldId="2147307479"/>
        </pc:sldMkLst>
      </pc:sldChg>
      <pc:sldChg chg="del">
        <pc:chgData name="Ajwaliya, Nishit" userId="d6171631-3d08-453d-8afd-2dc62a5026e2" providerId="ADAL" clId="{D49503EC-57AE-4872-BD9A-C98FEA764F85}" dt="2021-07-08T12:39:32.616" v="34" actId="2696"/>
        <pc:sldMkLst>
          <pc:docMk/>
          <pc:sldMk cId="3338437887" sldId="2147307480"/>
        </pc:sldMkLst>
      </pc:sldChg>
      <pc:sldChg chg="del">
        <pc:chgData name="Ajwaliya, Nishit" userId="d6171631-3d08-453d-8afd-2dc62a5026e2" providerId="ADAL" clId="{D49503EC-57AE-4872-BD9A-C98FEA764F85}" dt="2021-07-08T12:39:23.449" v="16" actId="2696"/>
        <pc:sldMkLst>
          <pc:docMk/>
          <pc:sldMk cId="1553550415" sldId="2147307481"/>
        </pc:sldMkLst>
      </pc:sldChg>
      <pc:sldChg chg="del">
        <pc:chgData name="Ajwaliya, Nishit" userId="d6171631-3d08-453d-8afd-2dc62a5026e2" providerId="ADAL" clId="{D49503EC-57AE-4872-BD9A-C98FEA764F85}" dt="2021-07-08T12:39:15.549" v="3" actId="2696"/>
        <pc:sldMkLst>
          <pc:docMk/>
          <pc:sldMk cId="3159088039" sldId="2147307483"/>
        </pc:sldMkLst>
      </pc:sldChg>
      <pc:sldChg chg="del">
        <pc:chgData name="Ajwaliya, Nishit" userId="d6171631-3d08-453d-8afd-2dc62a5026e2" providerId="ADAL" clId="{D49503EC-57AE-4872-BD9A-C98FEA764F85}" dt="2021-07-08T12:39:27.947" v="24" actId="2696"/>
        <pc:sldMkLst>
          <pc:docMk/>
          <pc:sldMk cId="3299959604" sldId="2147307484"/>
        </pc:sldMkLst>
      </pc:sldChg>
      <pc:sldChg chg="del">
        <pc:chgData name="Ajwaliya, Nishit" userId="d6171631-3d08-453d-8afd-2dc62a5026e2" providerId="ADAL" clId="{D49503EC-57AE-4872-BD9A-C98FEA764F85}" dt="2021-07-08T12:39:27.484" v="22" actId="2696"/>
        <pc:sldMkLst>
          <pc:docMk/>
          <pc:sldMk cId="3599553689" sldId="2147307485"/>
        </pc:sldMkLst>
      </pc:sldChg>
      <pc:sldChg chg="del">
        <pc:chgData name="Ajwaliya, Nishit" userId="d6171631-3d08-453d-8afd-2dc62a5026e2" providerId="ADAL" clId="{D49503EC-57AE-4872-BD9A-C98FEA764F85}" dt="2021-07-08T12:39:26.173" v="19" actId="2696"/>
        <pc:sldMkLst>
          <pc:docMk/>
          <pc:sldMk cId="503711225" sldId="2147307517"/>
        </pc:sldMkLst>
      </pc:sldChg>
      <pc:sldChg chg="del">
        <pc:chgData name="Ajwaliya, Nishit" userId="d6171631-3d08-453d-8afd-2dc62a5026e2" providerId="ADAL" clId="{D49503EC-57AE-4872-BD9A-C98FEA764F85}" dt="2021-07-08T12:39:28.601" v="26" actId="2696"/>
        <pc:sldMkLst>
          <pc:docMk/>
          <pc:sldMk cId="1517717599" sldId="2147307518"/>
        </pc:sldMkLst>
      </pc:sldChg>
      <pc:sldChg chg="add">
        <pc:chgData name="Ajwaliya, Nishit" userId="d6171631-3d08-453d-8afd-2dc62a5026e2" providerId="ADAL" clId="{D49503EC-57AE-4872-BD9A-C98FEA764F85}" dt="2021-07-08T12:40:53.437" v="36"/>
        <pc:sldMkLst>
          <pc:docMk/>
          <pc:sldMk cId="1080840361" sldId="2147307521"/>
        </pc:sldMkLst>
      </pc:sldChg>
      <pc:sldChg chg="del">
        <pc:chgData name="Ajwaliya, Nishit" userId="d6171631-3d08-453d-8afd-2dc62a5026e2" providerId="ADAL" clId="{D49503EC-57AE-4872-BD9A-C98FEA764F85}" dt="2021-07-08T12:39:30.285" v="32" actId="2696"/>
        <pc:sldMkLst>
          <pc:docMk/>
          <pc:sldMk cId="3863685249" sldId="2147307525"/>
        </pc:sldMkLst>
      </pc:sldChg>
      <pc:sldChg chg="add">
        <pc:chgData name="Ajwaliya, Nishit" userId="d6171631-3d08-453d-8afd-2dc62a5026e2" providerId="ADAL" clId="{D49503EC-57AE-4872-BD9A-C98FEA764F85}" dt="2021-07-08T12:40:53.437" v="36"/>
        <pc:sldMkLst>
          <pc:docMk/>
          <pc:sldMk cId="3631471579" sldId="2147307526"/>
        </pc:sldMkLst>
      </pc:sldChg>
      <pc:sldChg chg="add">
        <pc:chgData name="Ajwaliya, Nishit" userId="d6171631-3d08-453d-8afd-2dc62a5026e2" providerId="ADAL" clId="{D49503EC-57AE-4872-BD9A-C98FEA764F85}" dt="2021-07-08T12:40:53.437" v="36"/>
        <pc:sldMkLst>
          <pc:docMk/>
          <pc:sldMk cId="574701091" sldId="2147307528"/>
        </pc:sldMkLst>
      </pc:sldChg>
      <pc:sldChg chg="del">
        <pc:chgData name="Ajwaliya, Nishit" userId="d6171631-3d08-453d-8afd-2dc62a5026e2" providerId="ADAL" clId="{D49503EC-57AE-4872-BD9A-C98FEA764F85}" dt="2021-07-08T12:39:26.845" v="20" actId="2696"/>
        <pc:sldMkLst>
          <pc:docMk/>
          <pc:sldMk cId="4018107320" sldId="2147307534"/>
        </pc:sldMkLst>
      </pc:sldChg>
      <pc:sldMasterChg chg="delSldLayout">
        <pc:chgData name="Ajwaliya, Nishit" userId="d6171631-3d08-453d-8afd-2dc62a5026e2" providerId="ADAL" clId="{D49503EC-57AE-4872-BD9A-C98FEA764F85}" dt="2021-07-08T12:39:26.845" v="21" actId="2696"/>
        <pc:sldMasterMkLst>
          <pc:docMk/>
          <pc:sldMasterMk cId="0" sldId="2147483651"/>
        </pc:sldMasterMkLst>
        <pc:sldLayoutChg chg="del">
          <pc:chgData name="Ajwaliya, Nishit" userId="d6171631-3d08-453d-8afd-2dc62a5026e2" providerId="ADAL" clId="{D49503EC-57AE-4872-BD9A-C98FEA764F85}" dt="2021-07-08T12:39:26.845" v="21" actId="2696"/>
          <pc:sldLayoutMkLst>
            <pc:docMk/>
            <pc:sldMasterMk cId="0" sldId="2147483651"/>
            <pc:sldLayoutMk cId="3784902827" sldId="2147483819"/>
          </pc:sldLayoutMkLst>
        </pc:sldLayoutChg>
      </pc:sldMasterChg>
    </pc:docChg>
  </pc:docChgLst>
  <pc:docChgLst>
    <pc:chgData name="Ajwaliya, Nishit" userId="d6171631-3d08-453d-8afd-2dc62a5026e2" providerId="ADAL" clId="{6505E94C-63E7-437A-9BC6-FC4B9F6B4C42}"/>
  </pc:docChgLst>
  <pc:docChgLst>
    <pc:chgData name="Ajwaliya, Nishit" userId="d6171631-3d08-453d-8afd-2dc62a5026e2" providerId="ADAL" clId="{678AD243-71C4-4A17-8592-AF5CDCD65377}"/>
    <pc:docChg chg="undo custSel addSld delSld modSld sldOrd">
      <pc:chgData name="Ajwaliya, Nishit" userId="d6171631-3d08-453d-8afd-2dc62a5026e2" providerId="ADAL" clId="{678AD243-71C4-4A17-8592-AF5CDCD65377}" dt="2021-07-01T16:02:42.886" v="12013" actId="1035"/>
      <pc:docMkLst>
        <pc:docMk/>
      </pc:docMkLst>
      <pc:sldChg chg="addSp delSp modSp">
        <pc:chgData name="Ajwaliya, Nishit" userId="d6171631-3d08-453d-8afd-2dc62a5026e2" providerId="ADAL" clId="{678AD243-71C4-4A17-8592-AF5CDCD65377}" dt="2021-06-30T13:24:28.955" v="10552" actId="1037"/>
        <pc:sldMkLst>
          <pc:docMk/>
          <pc:sldMk cId="3363999467" sldId="6870"/>
        </pc:sldMkLst>
        <pc:picChg chg="add del mod">
          <ac:chgData name="Ajwaliya, Nishit" userId="d6171631-3d08-453d-8afd-2dc62a5026e2" providerId="ADAL" clId="{678AD243-71C4-4A17-8592-AF5CDCD65377}" dt="2021-06-30T13:24:10.787" v="10517" actId="478"/>
          <ac:picMkLst>
            <pc:docMk/>
            <pc:sldMk cId="3363999467" sldId="6870"/>
            <ac:picMk id="3" creationId="{77564A36-3C37-40AF-B467-782A6F42D958}"/>
          </ac:picMkLst>
        </pc:picChg>
        <pc:picChg chg="add del mod">
          <ac:chgData name="Ajwaliya, Nishit" userId="d6171631-3d08-453d-8afd-2dc62a5026e2" providerId="ADAL" clId="{678AD243-71C4-4A17-8592-AF5CDCD65377}" dt="2021-05-04T16:33:24.348" v="2034" actId="478"/>
          <ac:picMkLst>
            <pc:docMk/>
            <pc:sldMk cId="3363999467" sldId="6870"/>
            <ac:picMk id="3" creationId="{CD318874-230C-42BD-A5EC-01D2F2923293}"/>
          </ac:picMkLst>
        </pc:picChg>
        <pc:picChg chg="add del mod">
          <ac:chgData name="Ajwaliya, Nishit" userId="d6171631-3d08-453d-8afd-2dc62a5026e2" providerId="ADAL" clId="{678AD243-71C4-4A17-8592-AF5CDCD65377}" dt="2021-06-07T22:13:35.345" v="9828" actId="478"/>
          <ac:picMkLst>
            <pc:docMk/>
            <pc:sldMk cId="3363999467" sldId="6870"/>
            <ac:picMk id="4" creationId="{0C591B52-7F08-416C-8F8F-D27F12B9146E}"/>
          </ac:picMkLst>
        </pc:picChg>
        <pc:picChg chg="del">
          <ac:chgData name="Ajwaliya, Nishit" userId="d6171631-3d08-453d-8afd-2dc62a5026e2" providerId="ADAL" clId="{678AD243-71C4-4A17-8592-AF5CDCD65377}" dt="2021-03-04T22:28:41.652" v="1161" actId="478"/>
          <ac:picMkLst>
            <pc:docMk/>
            <pc:sldMk cId="3363999467" sldId="6870"/>
            <ac:picMk id="4" creationId="{8C1D280F-A460-40C4-8211-C66A0EC13D2F}"/>
          </ac:picMkLst>
        </pc:picChg>
        <pc:picChg chg="add mod">
          <ac:chgData name="Ajwaliya, Nishit" userId="d6171631-3d08-453d-8afd-2dc62a5026e2" providerId="ADAL" clId="{678AD243-71C4-4A17-8592-AF5CDCD65377}" dt="2021-06-30T13:24:28.955" v="10552" actId="1037"/>
          <ac:picMkLst>
            <pc:docMk/>
            <pc:sldMk cId="3363999467" sldId="6870"/>
            <ac:picMk id="4" creationId="{8E38F62D-56CA-4C18-AE0B-1CB1F6E94993}"/>
          </ac:picMkLst>
        </pc:picChg>
      </pc:sldChg>
      <pc:sldChg chg="addSp delSp modSp add del">
        <pc:chgData name="Ajwaliya, Nishit" userId="d6171631-3d08-453d-8afd-2dc62a5026e2" providerId="ADAL" clId="{678AD243-71C4-4A17-8592-AF5CDCD65377}" dt="2021-06-29T21:50:47.025" v="10516" actId="14100"/>
        <pc:sldMkLst>
          <pc:docMk/>
          <pc:sldMk cId="2367798465" sldId="6890"/>
        </pc:sldMkLst>
        <pc:spChg chg="mod">
          <ac:chgData name="Ajwaliya, Nishit" userId="d6171631-3d08-453d-8afd-2dc62a5026e2" providerId="ADAL" clId="{678AD243-71C4-4A17-8592-AF5CDCD65377}" dt="2021-06-29T21:47:35.213" v="10464" actId="1076"/>
          <ac:spMkLst>
            <pc:docMk/>
            <pc:sldMk cId="2367798465" sldId="6890"/>
            <ac:spMk id="3" creationId="{D37A7263-158B-4B89-B945-1285E86E8D3B}"/>
          </ac:spMkLst>
        </pc:spChg>
        <pc:spChg chg="ord">
          <ac:chgData name="Ajwaliya, Nishit" userId="d6171631-3d08-453d-8afd-2dc62a5026e2" providerId="ADAL" clId="{678AD243-71C4-4A17-8592-AF5CDCD65377}" dt="2021-06-29T21:29:44.721" v="10234" actId="167"/>
          <ac:spMkLst>
            <pc:docMk/>
            <pc:sldMk cId="2367798465" sldId="6890"/>
            <ac:spMk id="24" creationId="{589FEC22-3503-46A6-852D-980452A1AE14}"/>
          </ac:spMkLst>
        </pc:spChg>
        <pc:spChg chg="mod">
          <ac:chgData name="Ajwaliya, Nishit" userId="d6171631-3d08-453d-8afd-2dc62a5026e2" providerId="ADAL" clId="{678AD243-71C4-4A17-8592-AF5CDCD65377}" dt="2021-06-29T21:38:36.956" v="10288" actId="1038"/>
          <ac:spMkLst>
            <pc:docMk/>
            <pc:sldMk cId="2367798465" sldId="6890"/>
            <ac:spMk id="52" creationId="{A7FF0424-0218-4B71-8FCA-E1CCD6025DA4}"/>
          </ac:spMkLst>
        </pc:spChg>
        <pc:spChg chg="mod">
          <ac:chgData name="Ajwaliya, Nishit" userId="d6171631-3d08-453d-8afd-2dc62a5026e2" providerId="ADAL" clId="{678AD243-71C4-4A17-8592-AF5CDCD65377}" dt="2021-06-29T21:38:32.595" v="10284" actId="1037"/>
          <ac:spMkLst>
            <pc:docMk/>
            <pc:sldMk cId="2367798465" sldId="6890"/>
            <ac:spMk id="61" creationId="{71E55EE9-B3FC-4FA7-8737-061B4DD80806}"/>
          </ac:spMkLst>
        </pc:spChg>
        <pc:spChg chg="mod">
          <ac:chgData name="Ajwaliya, Nishit" userId="d6171631-3d08-453d-8afd-2dc62a5026e2" providerId="ADAL" clId="{678AD243-71C4-4A17-8592-AF5CDCD65377}" dt="2021-06-25T13:11:56.212" v="10097" actId="1038"/>
          <ac:spMkLst>
            <pc:docMk/>
            <pc:sldMk cId="2367798465" sldId="6890"/>
            <ac:spMk id="73" creationId="{0EC4A8D9-1A2C-495A-870D-7B55DC0A7CFB}"/>
          </ac:spMkLst>
        </pc:spChg>
        <pc:spChg chg="add mod ord">
          <ac:chgData name="Ajwaliya, Nishit" userId="d6171631-3d08-453d-8afd-2dc62a5026e2" providerId="ADAL" clId="{678AD243-71C4-4A17-8592-AF5CDCD65377}" dt="2021-06-29T21:29:51.707" v="10235" actId="14100"/>
          <ac:spMkLst>
            <pc:docMk/>
            <pc:sldMk cId="2367798465" sldId="6890"/>
            <ac:spMk id="75" creationId="{429A26A4-40EB-4EAC-AA79-949376DD5FDF}"/>
          </ac:spMkLst>
        </pc:spChg>
        <pc:spChg chg="mod">
          <ac:chgData name="Ajwaliya, Nishit" userId="d6171631-3d08-453d-8afd-2dc62a5026e2" providerId="ADAL" clId="{678AD243-71C4-4A17-8592-AF5CDCD65377}" dt="2021-06-29T21:46:51.678" v="10459" actId="1038"/>
          <ac:spMkLst>
            <pc:docMk/>
            <pc:sldMk cId="2367798465" sldId="6890"/>
            <ac:spMk id="76" creationId="{9B3F077E-2589-42CC-996A-3500DAEB8C8D}"/>
          </ac:spMkLst>
        </pc:spChg>
        <pc:spChg chg="del">
          <ac:chgData name="Ajwaliya, Nishit" userId="d6171631-3d08-453d-8afd-2dc62a5026e2" providerId="ADAL" clId="{678AD243-71C4-4A17-8592-AF5CDCD65377}" dt="2021-06-29T21:47:29.910" v="10463" actId="478"/>
          <ac:spMkLst>
            <pc:docMk/>
            <pc:sldMk cId="2367798465" sldId="6890"/>
            <ac:spMk id="79" creationId="{DB7CE25C-05AB-4258-89B7-6757270960E9}"/>
          </ac:spMkLst>
        </pc:spChg>
        <pc:spChg chg="del">
          <ac:chgData name="Ajwaliya, Nishit" userId="d6171631-3d08-453d-8afd-2dc62a5026e2" providerId="ADAL" clId="{678AD243-71C4-4A17-8592-AF5CDCD65377}" dt="2021-06-29T21:47:26.509" v="10462" actId="478"/>
          <ac:spMkLst>
            <pc:docMk/>
            <pc:sldMk cId="2367798465" sldId="6890"/>
            <ac:spMk id="80" creationId="{C2B0AE1E-59FA-4DED-A7C4-05F32EABC764}"/>
          </ac:spMkLst>
        </pc:spChg>
        <pc:spChg chg="add del">
          <ac:chgData name="Ajwaliya, Nishit" userId="d6171631-3d08-453d-8afd-2dc62a5026e2" providerId="ADAL" clId="{678AD243-71C4-4A17-8592-AF5CDCD65377}" dt="2021-06-29T21:50:34.981" v="10515" actId="478"/>
          <ac:spMkLst>
            <pc:docMk/>
            <pc:sldMk cId="2367798465" sldId="6890"/>
            <ac:spMk id="81" creationId="{7DC9AD90-0C60-426F-971B-6355B8A0EEED}"/>
          </ac:spMkLst>
        </pc:spChg>
        <pc:spChg chg="add del">
          <ac:chgData name="Ajwaliya, Nishit" userId="d6171631-3d08-453d-8afd-2dc62a5026e2" providerId="ADAL" clId="{678AD243-71C4-4A17-8592-AF5CDCD65377}" dt="2021-06-29T21:50:34.981" v="10515" actId="478"/>
          <ac:spMkLst>
            <pc:docMk/>
            <pc:sldMk cId="2367798465" sldId="6890"/>
            <ac:spMk id="84" creationId="{6A687301-BB41-4835-A0E6-54F0A09E455E}"/>
          </ac:spMkLst>
        </pc:spChg>
        <pc:spChg chg="mod">
          <ac:chgData name="Ajwaliya, Nishit" userId="d6171631-3d08-453d-8afd-2dc62a5026e2" providerId="ADAL" clId="{678AD243-71C4-4A17-8592-AF5CDCD65377}" dt="2021-06-29T21:45:14.817" v="10350" actId="1076"/>
          <ac:spMkLst>
            <pc:docMk/>
            <pc:sldMk cId="2367798465" sldId="6890"/>
            <ac:spMk id="90" creationId="{FFF2DC85-73E7-4593-BAEE-E8A8867D05C8}"/>
          </ac:spMkLst>
        </pc:spChg>
        <pc:spChg chg="mod">
          <ac:chgData name="Ajwaliya, Nishit" userId="d6171631-3d08-453d-8afd-2dc62a5026e2" providerId="ADAL" clId="{678AD243-71C4-4A17-8592-AF5CDCD65377}" dt="2021-06-25T13:11:56.212" v="10097" actId="1038"/>
          <ac:spMkLst>
            <pc:docMk/>
            <pc:sldMk cId="2367798465" sldId="6890"/>
            <ac:spMk id="97" creationId="{7D9843A7-A7B9-49C4-A5CA-2735591310E9}"/>
          </ac:spMkLst>
        </pc:spChg>
        <pc:spChg chg="mod">
          <ac:chgData name="Ajwaliya, Nishit" userId="d6171631-3d08-453d-8afd-2dc62a5026e2" providerId="ADAL" clId="{678AD243-71C4-4A17-8592-AF5CDCD65377}" dt="2021-06-29T21:29:32.270" v="10233" actId="1038"/>
          <ac:spMkLst>
            <pc:docMk/>
            <pc:sldMk cId="2367798465" sldId="6890"/>
            <ac:spMk id="99" creationId="{59817DAA-161B-420A-BC4D-60DEF49EC9AE}"/>
          </ac:spMkLst>
        </pc:spChg>
        <pc:spChg chg="mod">
          <ac:chgData name="Ajwaliya, Nishit" userId="d6171631-3d08-453d-8afd-2dc62a5026e2" providerId="ADAL" clId="{678AD243-71C4-4A17-8592-AF5CDCD65377}" dt="2021-06-29T21:46:41.565" v="10446" actId="1036"/>
          <ac:spMkLst>
            <pc:docMk/>
            <pc:sldMk cId="2367798465" sldId="6890"/>
            <ac:spMk id="100" creationId="{A9B0A673-CCFA-4B00-8FA8-59D813E14DF9}"/>
          </ac:spMkLst>
        </pc:spChg>
        <pc:spChg chg="del">
          <ac:chgData name="Ajwaliya, Nishit" userId="d6171631-3d08-453d-8afd-2dc62a5026e2" providerId="ADAL" clId="{678AD243-71C4-4A17-8592-AF5CDCD65377}" dt="2021-06-29T21:43:55.380" v="10320" actId="478"/>
          <ac:spMkLst>
            <pc:docMk/>
            <pc:sldMk cId="2367798465" sldId="6890"/>
            <ac:spMk id="101" creationId="{43A1111C-A50F-4AC6-84D9-ED0217998377}"/>
          </ac:spMkLst>
        </pc:spChg>
        <pc:spChg chg="mod">
          <ac:chgData name="Ajwaliya, Nishit" userId="d6171631-3d08-453d-8afd-2dc62a5026e2" providerId="ADAL" clId="{678AD243-71C4-4A17-8592-AF5CDCD65377}" dt="2021-06-25T13:11:56.212" v="10097" actId="1038"/>
          <ac:spMkLst>
            <pc:docMk/>
            <pc:sldMk cId="2367798465" sldId="6890"/>
            <ac:spMk id="102" creationId="{74A1BA9D-90FC-49C7-B21D-A879075EAC24}"/>
          </ac:spMkLst>
        </pc:spChg>
        <pc:spChg chg="mod">
          <ac:chgData name="Ajwaliya, Nishit" userId="d6171631-3d08-453d-8afd-2dc62a5026e2" providerId="ADAL" clId="{678AD243-71C4-4A17-8592-AF5CDCD65377}" dt="2021-06-25T13:11:56.212" v="10097" actId="1038"/>
          <ac:spMkLst>
            <pc:docMk/>
            <pc:sldMk cId="2367798465" sldId="6890"/>
            <ac:spMk id="103" creationId="{DBD0D033-A643-4F19-95A3-2C868133C1FC}"/>
          </ac:spMkLst>
        </pc:spChg>
        <pc:spChg chg="del mod">
          <ac:chgData name="Ajwaliya, Nishit" userId="d6171631-3d08-453d-8afd-2dc62a5026e2" providerId="ADAL" clId="{678AD243-71C4-4A17-8592-AF5CDCD65377}" dt="2021-06-25T13:10:40.578" v="10078" actId="478"/>
          <ac:spMkLst>
            <pc:docMk/>
            <pc:sldMk cId="2367798465" sldId="6890"/>
            <ac:spMk id="104" creationId="{DFACD845-BC9F-4D5B-8073-D0E382C40F17}"/>
          </ac:spMkLst>
        </pc:spChg>
        <pc:spChg chg="mod">
          <ac:chgData name="Ajwaliya, Nishit" userId="d6171631-3d08-453d-8afd-2dc62a5026e2" providerId="ADAL" clId="{678AD243-71C4-4A17-8592-AF5CDCD65377}" dt="2021-06-29T21:29:56.959" v="10240" actId="1038"/>
          <ac:spMkLst>
            <pc:docMk/>
            <pc:sldMk cId="2367798465" sldId="6890"/>
            <ac:spMk id="106" creationId="{0DA15BC5-C946-48C3-8FF0-162702D9051F}"/>
          </ac:spMkLst>
        </pc:spChg>
        <pc:spChg chg="mod">
          <ac:chgData name="Ajwaliya, Nishit" userId="d6171631-3d08-453d-8afd-2dc62a5026e2" providerId="ADAL" clId="{678AD243-71C4-4A17-8592-AF5CDCD65377}" dt="2021-06-29T21:43:06.422" v="10319" actId="1037"/>
          <ac:spMkLst>
            <pc:docMk/>
            <pc:sldMk cId="2367798465" sldId="6890"/>
            <ac:spMk id="114" creationId="{79D9EA1C-FCAB-4619-9D38-DA30580F3DFC}"/>
          </ac:spMkLst>
        </pc:spChg>
        <pc:cxnChg chg="mod">
          <ac:chgData name="Ajwaliya, Nishit" userId="d6171631-3d08-453d-8afd-2dc62a5026e2" providerId="ADAL" clId="{678AD243-71C4-4A17-8592-AF5CDCD65377}" dt="2021-06-29T21:50:47.025" v="10516" actId="14100"/>
          <ac:cxnSpMkLst>
            <pc:docMk/>
            <pc:sldMk cId="2367798465" sldId="6890"/>
            <ac:cxnSpMk id="127" creationId="{988282A2-0907-4B4B-9004-B461B0D19AEE}"/>
          </ac:cxnSpMkLst>
        </pc:cxnChg>
      </pc:sldChg>
      <pc:sldChg chg="modSp">
        <pc:chgData name="Ajwaliya, Nishit" userId="d6171631-3d08-453d-8afd-2dc62a5026e2" providerId="ADAL" clId="{678AD243-71C4-4A17-8592-AF5CDCD65377}" dt="2021-05-19T18:48:18.840" v="7409" actId="20577"/>
        <pc:sldMkLst>
          <pc:docMk/>
          <pc:sldMk cId="2337477801" sldId="6895"/>
        </pc:sldMkLst>
        <pc:spChg chg="mod">
          <ac:chgData name="Ajwaliya, Nishit" userId="d6171631-3d08-453d-8afd-2dc62a5026e2" providerId="ADAL" clId="{678AD243-71C4-4A17-8592-AF5CDCD65377}" dt="2021-05-19T18:48:18.840" v="7409" actId="20577"/>
          <ac:spMkLst>
            <pc:docMk/>
            <pc:sldMk cId="2337477801" sldId="6895"/>
            <ac:spMk id="57" creationId="{10AF472D-7563-4DB8-BDAB-F8D16170DDFF}"/>
          </ac:spMkLst>
        </pc:spChg>
      </pc:sldChg>
      <pc:sldChg chg="delSp modSp add del ord">
        <pc:chgData name="Ajwaliya, Nishit" userId="d6171631-3d08-453d-8afd-2dc62a5026e2" providerId="ADAL" clId="{678AD243-71C4-4A17-8592-AF5CDCD65377}" dt="2021-06-29T21:37:08.635" v="10242" actId="14100"/>
        <pc:sldMkLst>
          <pc:docMk/>
          <pc:sldMk cId="728976836" sldId="6896"/>
        </pc:sldMkLst>
        <pc:spChg chg="del">
          <ac:chgData name="Ajwaliya, Nishit" userId="d6171631-3d08-453d-8afd-2dc62a5026e2" providerId="ADAL" clId="{678AD243-71C4-4A17-8592-AF5CDCD65377}" dt="2021-06-25T13:08:12.955" v="9988" actId="478"/>
          <ac:spMkLst>
            <pc:docMk/>
            <pc:sldMk cId="728976836" sldId="6896"/>
            <ac:spMk id="118" creationId="{0875427D-EB51-40AA-8C1B-ECB45D96B172}"/>
          </ac:spMkLst>
        </pc:spChg>
        <pc:spChg chg="mod">
          <ac:chgData name="Ajwaliya, Nishit" userId="d6171631-3d08-453d-8afd-2dc62a5026e2" providerId="ADAL" clId="{678AD243-71C4-4A17-8592-AF5CDCD65377}" dt="2021-06-25T13:08:09.127" v="9987" actId="1076"/>
          <ac:spMkLst>
            <pc:docMk/>
            <pc:sldMk cId="728976836" sldId="6896"/>
            <ac:spMk id="151" creationId="{462158B7-509E-49DD-97DD-F8998B883356}"/>
          </ac:spMkLst>
        </pc:spChg>
        <pc:spChg chg="mod">
          <ac:chgData name="Ajwaliya, Nishit" userId="d6171631-3d08-453d-8afd-2dc62a5026e2" providerId="ADAL" clId="{678AD243-71C4-4A17-8592-AF5CDCD65377}" dt="2021-06-29T21:37:08.635" v="10242" actId="14100"/>
          <ac:spMkLst>
            <pc:docMk/>
            <pc:sldMk cId="728976836" sldId="6896"/>
            <ac:spMk id="211" creationId="{4E0B6F50-1BEB-4AC3-A4AA-D8C30B82EA00}"/>
          </ac:spMkLst>
        </pc:spChg>
        <pc:spChg chg="mod">
          <ac:chgData name="Ajwaliya, Nishit" userId="d6171631-3d08-453d-8afd-2dc62a5026e2" providerId="ADAL" clId="{678AD243-71C4-4A17-8592-AF5CDCD65377}" dt="2021-06-29T21:29:09.886" v="10217" actId="1037"/>
          <ac:spMkLst>
            <pc:docMk/>
            <pc:sldMk cId="728976836" sldId="6896"/>
            <ac:spMk id="213" creationId="{4B5CC930-2486-4E58-ADF1-C87A0B22F49B}"/>
          </ac:spMkLst>
        </pc:spChg>
        <pc:spChg chg="mod">
          <ac:chgData name="Ajwaliya, Nishit" userId="d6171631-3d08-453d-8afd-2dc62a5026e2" providerId="ADAL" clId="{678AD243-71C4-4A17-8592-AF5CDCD65377}" dt="2021-06-29T21:29:02.314" v="10208" actId="1038"/>
          <ac:spMkLst>
            <pc:docMk/>
            <pc:sldMk cId="728976836" sldId="6896"/>
            <ac:spMk id="214" creationId="{A42C1389-0420-45B0-8E26-71CFB517FBE2}"/>
          </ac:spMkLst>
        </pc:spChg>
        <pc:picChg chg="del">
          <ac:chgData name="Ajwaliya, Nishit" userId="d6171631-3d08-453d-8afd-2dc62a5026e2" providerId="ADAL" clId="{678AD243-71C4-4A17-8592-AF5CDCD65377}" dt="2021-06-25T13:08:12.955" v="9988" actId="478"/>
          <ac:picMkLst>
            <pc:docMk/>
            <pc:sldMk cId="728976836" sldId="6896"/>
            <ac:picMk id="117" creationId="{C931BD4D-C8DC-4673-9960-C02E04732356}"/>
          </ac:picMkLst>
        </pc:picChg>
      </pc:sldChg>
      <pc:sldChg chg="modSp">
        <pc:chgData name="Ajwaliya, Nishit" userId="d6171631-3d08-453d-8afd-2dc62a5026e2" providerId="ADAL" clId="{678AD243-71C4-4A17-8592-AF5CDCD65377}" dt="2021-05-20T12:42:46.291" v="7462" actId="20577"/>
        <pc:sldMkLst>
          <pc:docMk/>
          <pc:sldMk cId="978048152" sldId="838840122"/>
        </pc:sldMkLst>
        <pc:graphicFrameChg chg="modGraphic">
          <ac:chgData name="Ajwaliya, Nishit" userId="d6171631-3d08-453d-8afd-2dc62a5026e2" providerId="ADAL" clId="{678AD243-71C4-4A17-8592-AF5CDCD65377}" dt="2021-05-20T12:42:46.291" v="7462" actId="20577"/>
          <ac:graphicFrameMkLst>
            <pc:docMk/>
            <pc:sldMk cId="978048152" sldId="838840122"/>
            <ac:graphicFrameMk id="2" creationId="{C86E49CF-0E84-43B4-BACC-62850BFB8402}"/>
          </ac:graphicFrameMkLst>
        </pc:graphicFrameChg>
      </pc:sldChg>
      <pc:sldChg chg="addSp delSp modSp add del">
        <pc:chgData name="Ajwaliya, Nishit" userId="d6171631-3d08-453d-8afd-2dc62a5026e2" providerId="ADAL" clId="{678AD243-71C4-4A17-8592-AF5CDCD65377}" dt="2021-06-29T21:50:27.430" v="10513" actId="478"/>
        <pc:sldMkLst>
          <pc:docMk/>
          <pc:sldMk cId="249990709" sldId="2147307467"/>
        </pc:sldMkLst>
        <pc:spChg chg="mod">
          <ac:chgData name="Ajwaliya, Nishit" userId="d6171631-3d08-453d-8afd-2dc62a5026e2" providerId="ADAL" clId="{678AD243-71C4-4A17-8592-AF5CDCD65377}" dt="2021-06-29T21:48:27.067" v="10491" actId="1038"/>
          <ac:spMkLst>
            <pc:docMk/>
            <pc:sldMk cId="249990709" sldId="2147307467"/>
            <ac:spMk id="63" creationId="{1953E7A9-ECBD-45F9-9C1E-5DB40AE0EC3C}"/>
          </ac:spMkLst>
        </pc:spChg>
        <pc:spChg chg="add del">
          <ac:chgData name="Ajwaliya, Nishit" userId="d6171631-3d08-453d-8afd-2dc62a5026e2" providerId="ADAL" clId="{678AD243-71C4-4A17-8592-AF5CDCD65377}" dt="2021-06-29T21:50:27.430" v="10513" actId="478"/>
          <ac:spMkLst>
            <pc:docMk/>
            <pc:sldMk cId="249990709" sldId="2147307467"/>
            <ac:spMk id="79" creationId="{DB7CE25C-05AB-4258-89B7-6757270960E9}"/>
          </ac:spMkLst>
        </pc:spChg>
        <pc:spChg chg="add del">
          <ac:chgData name="Ajwaliya, Nishit" userId="d6171631-3d08-453d-8afd-2dc62a5026e2" providerId="ADAL" clId="{678AD243-71C4-4A17-8592-AF5CDCD65377}" dt="2021-06-29T21:50:27.430" v="10513" actId="478"/>
          <ac:spMkLst>
            <pc:docMk/>
            <pc:sldMk cId="249990709" sldId="2147307467"/>
            <ac:spMk id="80" creationId="{C2B0AE1E-59FA-4DED-A7C4-05F32EABC764}"/>
          </ac:spMkLst>
        </pc:spChg>
        <pc:spChg chg="mod">
          <ac:chgData name="Ajwaliya, Nishit" userId="d6171631-3d08-453d-8afd-2dc62a5026e2" providerId="ADAL" clId="{678AD243-71C4-4A17-8592-AF5CDCD65377}" dt="2021-06-29T21:49:08.074" v="10511" actId="1035"/>
          <ac:spMkLst>
            <pc:docMk/>
            <pc:sldMk cId="249990709" sldId="2147307467"/>
            <ac:spMk id="90" creationId="{FFF2DC85-73E7-4593-BAEE-E8A8867D05C8}"/>
          </ac:spMkLst>
        </pc:spChg>
        <pc:spChg chg="mod">
          <ac:chgData name="Ajwaliya, Nishit" userId="d6171631-3d08-453d-8afd-2dc62a5026e2" providerId="ADAL" clId="{678AD243-71C4-4A17-8592-AF5CDCD65377}" dt="2021-06-29T21:48:41.493" v="10504" actId="1037"/>
          <ac:spMkLst>
            <pc:docMk/>
            <pc:sldMk cId="249990709" sldId="2147307467"/>
            <ac:spMk id="97" creationId="{EF079414-20B2-47F6-9154-00CB35270E6C}"/>
          </ac:spMkLst>
        </pc:spChg>
        <pc:spChg chg="del">
          <ac:chgData name="Ajwaliya, Nishit" userId="d6171631-3d08-453d-8afd-2dc62a5026e2" providerId="ADAL" clId="{678AD243-71C4-4A17-8592-AF5CDCD65377}" dt="2021-06-29T21:48:55.361" v="10505" actId="478"/>
          <ac:spMkLst>
            <pc:docMk/>
            <pc:sldMk cId="249990709" sldId="2147307467"/>
            <ac:spMk id="117" creationId="{18956F70-050F-4DA3-BDBC-CCDCE1F7AD2F}"/>
          </ac:spMkLst>
        </pc:spChg>
      </pc:sldChg>
      <pc:sldChg chg="addSp modSp add del ord">
        <pc:chgData name="Ajwaliya, Nishit" userId="d6171631-3d08-453d-8afd-2dc62a5026e2" providerId="ADAL" clId="{678AD243-71C4-4A17-8592-AF5CDCD65377}" dt="2021-06-07T22:15:16.879" v="9856"/>
        <pc:sldMkLst>
          <pc:docMk/>
          <pc:sldMk cId="2717343237" sldId="2147307469"/>
        </pc:sldMkLst>
        <pc:spChg chg="add mod">
          <ac:chgData name="Ajwaliya, Nishit" userId="d6171631-3d08-453d-8afd-2dc62a5026e2" providerId="ADAL" clId="{678AD243-71C4-4A17-8592-AF5CDCD65377}" dt="2021-06-07T21:22:58.496" v="9788" actId="1076"/>
          <ac:spMkLst>
            <pc:docMk/>
            <pc:sldMk cId="2717343237" sldId="2147307469"/>
            <ac:spMk id="4" creationId="{3CD94484-BAE1-4B24-90F8-D9150B34286B}"/>
          </ac:spMkLst>
        </pc:spChg>
        <pc:spChg chg="mod">
          <ac:chgData name="Ajwaliya, Nishit" userId="d6171631-3d08-453d-8afd-2dc62a5026e2" providerId="ADAL" clId="{678AD243-71C4-4A17-8592-AF5CDCD65377}" dt="2021-05-14T14:56:22.519" v="5367" actId="20577"/>
          <ac:spMkLst>
            <pc:docMk/>
            <pc:sldMk cId="2717343237" sldId="2147307469"/>
            <ac:spMk id="19" creationId="{A0F14E7F-F4ED-44DC-B4C4-D6B778E9B863}"/>
          </ac:spMkLst>
        </pc:spChg>
        <pc:graphicFrameChg chg="mod">
          <ac:chgData name="Ajwaliya, Nishit" userId="d6171631-3d08-453d-8afd-2dc62a5026e2" providerId="ADAL" clId="{678AD243-71C4-4A17-8592-AF5CDCD65377}" dt="2021-06-07T21:23:37.737" v="9826"/>
          <ac:graphicFrameMkLst>
            <pc:docMk/>
            <pc:sldMk cId="2717343237" sldId="2147307469"/>
            <ac:graphicFrameMk id="3" creationId="{02B955C7-A994-4F68-BA9F-A499B85FF09E}"/>
          </ac:graphicFrameMkLst>
        </pc:graphicFrameChg>
      </pc:sldChg>
      <pc:sldChg chg="addSp delSp modSp add">
        <pc:chgData name="Ajwaliya, Nishit" userId="d6171631-3d08-453d-8afd-2dc62a5026e2" providerId="ADAL" clId="{678AD243-71C4-4A17-8592-AF5CDCD65377}" dt="2021-06-29T21:41:19.087" v="10317" actId="1035"/>
        <pc:sldMkLst>
          <pc:docMk/>
          <pc:sldMk cId="1158991494" sldId="2147307470"/>
        </pc:sldMkLst>
        <pc:spChg chg="mod">
          <ac:chgData name="Ajwaliya, Nishit" userId="d6171631-3d08-453d-8afd-2dc62a5026e2" providerId="ADAL" clId="{678AD243-71C4-4A17-8592-AF5CDCD65377}" dt="2021-05-14T11:51:00.677" v="2098" actId="6549"/>
          <ac:spMkLst>
            <pc:docMk/>
            <pc:sldMk cId="1158991494" sldId="2147307470"/>
            <ac:spMk id="2" creationId="{65606505-0DE3-4026-B55A-3FA303F48ACA}"/>
          </ac:spMkLst>
        </pc:spChg>
        <pc:spChg chg="mod">
          <ac:chgData name="Ajwaliya, Nishit" userId="d6171631-3d08-453d-8afd-2dc62a5026e2" providerId="ADAL" clId="{678AD243-71C4-4A17-8592-AF5CDCD65377}" dt="2021-03-01T21:54:25.496" v="33" actId="1036"/>
          <ac:spMkLst>
            <pc:docMk/>
            <pc:sldMk cId="1158991494" sldId="2147307470"/>
            <ac:spMk id="24" creationId="{589FEC22-3503-46A6-852D-980452A1AE14}"/>
          </ac:spMkLst>
        </pc:spChg>
        <pc:spChg chg="mod">
          <ac:chgData name="Ajwaliya, Nishit" userId="d6171631-3d08-453d-8afd-2dc62a5026e2" providerId="ADAL" clId="{678AD243-71C4-4A17-8592-AF5CDCD65377}" dt="2021-03-01T21:58:16.295" v="64" actId="1076"/>
          <ac:spMkLst>
            <pc:docMk/>
            <pc:sldMk cId="1158991494" sldId="2147307470"/>
            <ac:spMk id="26" creationId="{24293CC2-EA11-43DE-85FC-3184F8128656}"/>
          </ac:spMkLst>
        </pc:spChg>
        <pc:spChg chg="mod">
          <ac:chgData name="Ajwaliya, Nishit" userId="d6171631-3d08-453d-8afd-2dc62a5026e2" providerId="ADAL" clId="{678AD243-71C4-4A17-8592-AF5CDCD65377}" dt="2021-05-14T12:50:08.321" v="3417" actId="1035"/>
          <ac:spMkLst>
            <pc:docMk/>
            <pc:sldMk cId="1158991494" sldId="2147307470"/>
            <ac:spMk id="44" creationId="{FBAF2D11-801D-4CB6-965F-3DB89154D738}"/>
          </ac:spMkLst>
        </pc:spChg>
        <pc:spChg chg="add del mod">
          <ac:chgData name="Ajwaliya, Nishit" userId="d6171631-3d08-453d-8afd-2dc62a5026e2" providerId="ADAL" clId="{678AD243-71C4-4A17-8592-AF5CDCD65377}" dt="2021-05-14T12:34:06.613" v="2666" actId="1037"/>
          <ac:spMkLst>
            <pc:docMk/>
            <pc:sldMk cId="1158991494" sldId="2147307470"/>
            <ac:spMk id="49" creationId="{A12E507B-96D5-43FC-B960-0C5F5F800B2B}"/>
          </ac:spMkLst>
        </pc:spChg>
        <pc:spChg chg="mod">
          <ac:chgData name="Ajwaliya, Nishit" userId="d6171631-3d08-453d-8afd-2dc62a5026e2" providerId="ADAL" clId="{678AD243-71C4-4A17-8592-AF5CDCD65377}" dt="2021-05-14T12:40:29.439" v="3003" actId="1036"/>
          <ac:spMkLst>
            <pc:docMk/>
            <pc:sldMk cId="1158991494" sldId="2147307470"/>
            <ac:spMk id="50" creationId="{2915144E-AEC7-4DCB-98A2-4464FB3D9197}"/>
          </ac:spMkLst>
        </pc:spChg>
        <pc:spChg chg="del mod">
          <ac:chgData name="Ajwaliya, Nishit" userId="d6171631-3d08-453d-8afd-2dc62a5026e2" providerId="ADAL" clId="{678AD243-71C4-4A17-8592-AF5CDCD65377}" dt="2021-05-14T12:37:57.347" v="2904" actId="478"/>
          <ac:spMkLst>
            <pc:docMk/>
            <pc:sldMk cId="1158991494" sldId="2147307470"/>
            <ac:spMk id="52" creationId="{A7FF0424-0218-4B71-8FCA-E1CCD6025DA4}"/>
          </ac:spMkLst>
        </pc:spChg>
        <pc:spChg chg="mod">
          <ac:chgData name="Ajwaliya, Nishit" userId="d6171631-3d08-453d-8afd-2dc62a5026e2" providerId="ADAL" clId="{678AD243-71C4-4A17-8592-AF5CDCD65377}" dt="2021-05-14T12:36:33.815" v="2833" actId="1038"/>
          <ac:spMkLst>
            <pc:docMk/>
            <pc:sldMk cId="1158991494" sldId="2147307470"/>
            <ac:spMk id="53" creationId="{BC661A30-1DD3-444B-9C8C-C1021EBBF344}"/>
          </ac:spMkLst>
        </pc:spChg>
        <pc:spChg chg="del mod">
          <ac:chgData name="Ajwaliya, Nishit" userId="d6171631-3d08-453d-8afd-2dc62a5026e2" providerId="ADAL" clId="{678AD243-71C4-4A17-8592-AF5CDCD65377}" dt="2021-05-14T12:37:57.347" v="2904" actId="478"/>
          <ac:spMkLst>
            <pc:docMk/>
            <pc:sldMk cId="1158991494" sldId="2147307470"/>
            <ac:spMk id="54" creationId="{F3884E08-0A7E-4AC8-A451-E4A9CBAB8453}"/>
          </ac:spMkLst>
        </pc:spChg>
        <pc:spChg chg="mod">
          <ac:chgData name="Ajwaliya, Nishit" userId="d6171631-3d08-453d-8afd-2dc62a5026e2" providerId="ADAL" clId="{678AD243-71C4-4A17-8592-AF5CDCD65377}" dt="2021-05-14T12:36:33.815" v="2833" actId="1038"/>
          <ac:spMkLst>
            <pc:docMk/>
            <pc:sldMk cId="1158991494" sldId="2147307470"/>
            <ac:spMk id="56" creationId="{45FC9D0D-BF43-4F6E-8600-0D49793570F0}"/>
          </ac:spMkLst>
        </pc:spChg>
        <pc:spChg chg="mod">
          <ac:chgData name="Ajwaliya, Nishit" userId="d6171631-3d08-453d-8afd-2dc62a5026e2" providerId="ADAL" clId="{678AD243-71C4-4A17-8592-AF5CDCD65377}" dt="2021-05-14T12:35:41.733" v="2771" actId="1038"/>
          <ac:spMkLst>
            <pc:docMk/>
            <pc:sldMk cId="1158991494" sldId="2147307470"/>
            <ac:spMk id="60" creationId="{442C64E1-8534-4B91-AB1B-423EFB7A337B}"/>
          </ac:spMkLst>
        </pc:spChg>
        <pc:spChg chg="del mod">
          <ac:chgData name="Ajwaliya, Nishit" userId="d6171631-3d08-453d-8afd-2dc62a5026e2" providerId="ADAL" clId="{678AD243-71C4-4A17-8592-AF5CDCD65377}" dt="2021-05-14T12:37:57.347" v="2904" actId="478"/>
          <ac:spMkLst>
            <pc:docMk/>
            <pc:sldMk cId="1158991494" sldId="2147307470"/>
            <ac:spMk id="61" creationId="{71E55EE9-B3FC-4FA7-8737-061B4DD80806}"/>
          </ac:spMkLst>
        </pc:spChg>
        <pc:spChg chg="del">
          <ac:chgData name="Ajwaliya, Nishit" userId="d6171631-3d08-453d-8afd-2dc62a5026e2" providerId="ADAL" clId="{678AD243-71C4-4A17-8592-AF5CDCD65377}" dt="2021-05-14T12:01:55.155" v="2424" actId="478"/>
          <ac:spMkLst>
            <pc:docMk/>
            <pc:sldMk cId="1158991494" sldId="2147307470"/>
            <ac:spMk id="66" creationId="{A12C81B1-BE83-48E0-82F6-ED0EDEB9568A}"/>
          </ac:spMkLst>
        </pc:spChg>
        <pc:spChg chg="del">
          <ac:chgData name="Ajwaliya, Nishit" userId="d6171631-3d08-453d-8afd-2dc62a5026e2" providerId="ADAL" clId="{678AD243-71C4-4A17-8592-AF5CDCD65377}" dt="2021-05-14T12:01:55.155" v="2424" actId="478"/>
          <ac:spMkLst>
            <pc:docMk/>
            <pc:sldMk cId="1158991494" sldId="2147307470"/>
            <ac:spMk id="67" creationId="{13AF4990-BEC8-4F76-90A9-21EF7C67AE3B}"/>
          </ac:spMkLst>
        </pc:spChg>
        <pc:spChg chg="del">
          <ac:chgData name="Ajwaliya, Nishit" userId="d6171631-3d08-453d-8afd-2dc62a5026e2" providerId="ADAL" clId="{678AD243-71C4-4A17-8592-AF5CDCD65377}" dt="2021-05-14T12:01:55.155" v="2424" actId="478"/>
          <ac:spMkLst>
            <pc:docMk/>
            <pc:sldMk cId="1158991494" sldId="2147307470"/>
            <ac:spMk id="68" creationId="{8C2027DD-6D6E-47AB-BF53-9BC91D7E207A}"/>
          </ac:spMkLst>
        </pc:spChg>
        <pc:spChg chg="del">
          <ac:chgData name="Ajwaliya, Nishit" userId="d6171631-3d08-453d-8afd-2dc62a5026e2" providerId="ADAL" clId="{678AD243-71C4-4A17-8592-AF5CDCD65377}" dt="2021-05-14T12:01:55.155" v="2424" actId="478"/>
          <ac:spMkLst>
            <pc:docMk/>
            <pc:sldMk cId="1158991494" sldId="2147307470"/>
            <ac:spMk id="69" creationId="{01B95DB8-8395-45E2-8451-4D61E9C8C07C}"/>
          </ac:spMkLst>
        </pc:spChg>
        <pc:spChg chg="del">
          <ac:chgData name="Ajwaliya, Nishit" userId="d6171631-3d08-453d-8afd-2dc62a5026e2" providerId="ADAL" clId="{678AD243-71C4-4A17-8592-AF5CDCD65377}" dt="2021-05-14T12:01:55.155" v="2424" actId="478"/>
          <ac:spMkLst>
            <pc:docMk/>
            <pc:sldMk cId="1158991494" sldId="2147307470"/>
            <ac:spMk id="70" creationId="{CB334639-855E-4746-BFC5-89E45E4FD7C6}"/>
          </ac:spMkLst>
        </pc:spChg>
        <pc:spChg chg="mod">
          <ac:chgData name="Ajwaliya, Nishit" userId="d6171631-3d08-453d-8afd-2dc62a5026e2" providerId="ADAL" clId="{678AD243-71C4-4A17-8592-AF5CDCD65377}" dt="2021-05-14T12:50:08.321" v="3417" actId="1035"/>
          <ac:spMkLst>
            <pc:docMk/>
            <pc:sldMk cId="1158991494" sldId="2147307470"/>
            <ac:spMk id="71" creationId="{2398B98C-023B-4F39-B424-CB8FDB871D95}"/>
          </ac:spMkLst>
        </pc:spChg>
        <pc:spChg chg="mod">
          <ac:chgData name="Ajwaliya, Nishit" userId="d6171631-3d08-453d-8afd-2dc62a5026e2" providerId="ADAL" clId="{678AD243-71C4-4A17-8592-AF5CDCD65377}" dt="2021-05-14T12:40:30.665" v="3005" actId="1035"/>
          <ac:spMkLst>
            <pc:docMk/>
            <pc:sldMk cId="1158991494" sldId="2147307470"/>
            <ac:spMk id="74" creationId="{B146814E-2669-4DE3-A2E1-4B1C5716A703}"/>
          </ac:spMkLst>
        </pc:spChg>
        <pc:spChg chg="mod">
          <ac:chgData name="Ajwaliya, Nishit" userId="d6171631-3d08-453d-8afd-2dc62a5026e2" providerId="ADAL" clId="{678AD243-71C4-4A17-8592-AF5CDCD65377}" dt="2021-05-14T12:35:41.733" v="2771" actId="1038"/>
          <ac:spMkLst>
            <pc:docMk/>
            <pc:sldMk cId="1158991494" sldId="2147307470"/>
            <ac:spMk id="76" creationId="{9A520CC5-FA03-4165-9311-61DCAD63AA0D}"/>
          </ac:spMkLst>
        </pc:spChg>
        <pc:spChg chg="mod">
          <ac:chgData name="Ajwaliya, Nishit" userId="d6171631-3d08-453d-8afd-2dc62a5026e2" providerId="ADAL" clId="{678AD243-71C4-4A17-8592-AF5CDCD65377}" dt="2021-05-14T12:50:08.321" v="3417" actId="1035"/>
          <ac:spMkLst>
            <pc:docMk/>
            <pc:sldMk cId="1158991494" sldId="2147307470"/>
            <ac:spMk id="79" creationId="{DB7CE25C-05AB-4258-89B7-6757270960E9}"/>
          </ac:spMkLst>
        </pc:spChg>
        <pc:spChg chg="mod">
          <ac:chgData name="Ajwaliya, Nishit" userId="d6171631-3d08-453d-8afd-2dc62a5026e2" providerId="ADAL" clId="{678AD243-71C4-4A17-8592-AF5CDCD65377}" dt="2021-05-14T12:50:08.321" v="3417" actId="1035"/>
          <ac:spMkLst>
            <pc:docMk/>
            <pc:sldMk cId="1158991494" sldId="2147307470"/>
            <ac:spMk id="80" creationId="{C2B0AE1E-59FA-4DED-A7C4-05F32EABC764}"/>
          </ac:spMkLst>
        </pc:spChg>
        <pc:spChg chg="del">
          <ac:chgData name="Ajwaliya, Nishit" userId="d6171631-3d08-453d-8afd-2dc62a5026e2" providerId="ADAL" clId="{678AD243-71C4-4A17-8592-AF5CDCD65377}" dt="2021-05-14T12:01:55.155" v="2424" actId="478"/>
          <ac:spMkLst>
            <pc:docMk/>
            <pc:sldMk cId="1158991494" sldId="2147307470"/>
            <ac:spMk id="81" creationId="{8F7C78EF-3C75-4163-A598-3EFE46A4496D}"/>
          </ac:spMkLst>
        </pc:spChg>
        <pc:spChg chg="add del">
          <ac:chgData name="Ajwaliya, Nishit" userId="d6171631-3d08-453d-8afd-2dc62a5026e2" providerId="ADAL" clId="{678AD243-71C4-4A17-8592-AF5CDCD65377}" dt="2021-05-14T12:01:49.708" v="2423"/>
          <ac:spMkLst>
            <pc:docMk/>
            <pc:sldMk cId="1158991494" sldId="2147307470"/>
            <ac:spMk id="82" creationId="{E48DA7D6-1421-43DB-BE40-5957B7740CF4}"/>
          </ac:spMkLst>
        </pc:spChg>
        <pc:spChg chg="mod">
          <ac:chgData name="Ajwaliya, Nishit" userId="d6171631-3d08-453d-8afd-2dc62a5026e2" providerId="ADAL" clId="{678AD243-71C4-4A17-8592-AF5CDCD65377}" dt="2021-05-14T12:50:08.321" v="3417" actId="1035"/>
          <ac:spMkLst>
            <pc:docMk/>
            <pc:sldMk cId="1158991494" sldId="2147307470"/>
            <ac:spMk id="83" creationId="{46174FC6-413E-4C6C-BBBA-439B219DD174}"/>
          </ac:spMkLst>
        </pc:spChg>
        <pc:spChg chg="del">
          <ac:chgData name="Ajwaliya, Nishit" userId="d6171631-3d08-453d-8afd-2dc62a5026e2" providerId="ADAL" clId="{678AD243-71C4-4A17-8592-AF5CDCD65377}" dt="2021-05-14T12:01:55.155" v="2424" actId="478"/>
          <ac:spMkLst>
            <pc:docMk/>
            <pc:sldMk cId="1158991494" sldId="2147307470"/>
            <ac:spMk id="84" creationId="{60BBD388-7AED-42EE-A76C-C401F0E3C966}"/>
          </ac:spMkLst>
        </pc:spChg>
        <pc:spChg chg="del">
          <ac:chgData name="Ajwaliya, Nishit" userId="d6171631-3d08-453d-8afd-2dc62a5026e2" providerId="ADAL" clId="{678AD243-71C4-4A17-8592-AF5CDCD65377}" dt="2021-05-14T12:01:55.155" v="2424" actId="478"/>
          <ac:spMkLst>
            <pc:docMk/>
            <pc:sldMk cId="1158991494" sldId="2147307470"/>
            <ac:spMk id="85" creationId="{94C2F0E4-C549-4C65-85EC-0F72D28AEB7B}"/>
          </ac:spMkLst>
        </pc:spChg>
        <pc:spChg chg="del">
          <ac:chgData name="Ajwaliya, Nishit" userId="d6171631-3d08-453d-8afd-2dc62a5026e2" providerId="ADAL" clId="{678AD243-71C4-4A17-8592-AF5CDCD65377}" dt="2021-05-14T12:01:55.155" v="2424" actId="478"/>
          <ac:spMkLst>
            <pc:docMk/>
            <pc:sldMk cId="1158991494" sldId="2147307470"/>
            <ac:spMk id="86" creationId="{7BEAD126-BC38-4A82-9ADF-631A1EB5B79A}"/>
          </ac:spMkLst>
        </pc:spChg>
        <pc:spChg chg="del">
          <ac:chgData name="Ajwaliya, Nishit" userId="d6171631-3d08-453d-8afd-2dc62a5026e2" providerId="ADAL" clId="{678AD243-71C4-4A17-8592-AF5CDCD65377}" dt="2021-05-14T12:01:55.155" v="2424" actId="478"/>
          <ac:spMkLst>
            <pc:docMk/>
            <pc:sldMk cId="1158991494" sldId="2147307470"/>
            <ac:spMk id="87" creationId="{D171760A-447B-483E-87A3-5A7511C18F93}"/>
          </ac:spMkLst>
        </pc:spChg>
        <pc:spChg chg="del">
          <ac:chgData name="Ajwaliya, Nishit" userId="d6171631-3d08-453d-8afd-2dc62a5026e2" providerId="ADAL" clId="{678AD243-71C4-4A17-8592-AF5CDCD65377}" dt="2021-05-14T12:01:55.155" v="2424" actId="478"/>
          <ac:spMkLst>
            <pc:docMk/>
            <pc:sldMk cId="1158991494" sldId="2147307470"/>
            <ac:spMk id="88" creationId="{1C61089B-9BC4-4D8D-B373-9B95214FAE1A}"/>
          </ac:spMkLst>
        </pc:spChg>
        <pc:spChg chg="mod">
          <ac:chgData name="Ajwaliya, Nishit" userId="d6171631-3d08-453d-8afd-2dc62a5026e2" providerId="ADAL" clId="{678AD243-71C4-4A17-8592-AF5CDCD65377}" dt="2021-05-14T12:38:30.942" v="2913" actId="1035"/>
          <ac:spMkLst>
            <pc:docMk/>
            <pc:sldMk cId="1158991494" sldId="2147307470"/>
            <ac:spMk id="89" creationId="{5732038B-ACCE-4CDA-A3FD-0EAB5EA8099E}"/>
          </ac:spMkLst>
        </pc:spChg>
        <pc:spChg chg="del mod">
          <ac:chgData name="Ajwaliya, Nishit" userId="d6171631-3d08-453d-8afd-2dc62a5026e2" providerId="ADAL" clId="{678AD243-71C4-4A17-8592-AF5CDCD65377}" dt="2021-05-14T12:40:49.371" v="3008" actId="478"/>
          <ac:spMkLst>
            <pc:docMk/>
            <pc:sldMk cId="1158991494" sldId="2147307470"/>
            <ac:spMk id="90" creationId="{FFF2DC85-73E7-4593-BAEE-E8A8867D05C8}"/>
          </ac:spMkLst>
        </pc:spChg>
        <pc:spChg chg="mod">
          <ac:chgData name="Ajwaliya, Nishit" userId="d6171631-3d08-453d-8afd-2dc62a5026e2" providerId="ADAL" clId="{678AD243-71C4-4A17-8592-AF5CDCD65377}" dt="2021-05-14T12:36:33.815" v="2833" actId="1038"/>
          <ac:spMkLst>
            <pc:docMk/>
            <pc:sldMk cId="1158991494" sldId="2147307470"/>
            <ac:spMk id="91" creationId="{A57BFC78-7EBA-4ECC-9CA1-B799C0EB3B3A}"/>
          </ac:spMkLst>
        </pc:spChg>
        <pc:spChg chg="mod">
          <ac:chgData name="Ajwaliya, Nishit" userId="d6171631-3d08-453d-8afd-2dc62a5026e2" providerId="ADAL" clId="{678AD243-71C4-4A17-8592-AF5CDCD65377}" dt="2021-05-14T12:50:08.321" v="3417" actId="1035"/>
          <ac:spMkLst>
            <pc:docMk/>
            <pc:sldMk cId="1158991494" sldId="2147307470"/>
            <ac:spMk id="92" creationId="{5F18979B-4618-44F0-9CF3-2CB0731EF67E}"/>
          </ac:spMkLst>
        </pc:spChg>
        <pc:spChg chg="mod">
          <ac:chgData name="Ajwaliya, Nishit" userId="d6171631-3d08-453d-8afd-2dc62a5026e2" providerId="ADAL" clId="{678AD243-71C4-4A17-8592-AF5CDCD65377}" dt="2021-05-14T12:50:08.321" v="3417" actId="1035"/>
          <ac:spMkLst>
            <pc:docMk/>
            <pc:sldMk cId="1158991494" sldId="2147307470"/>
            <ac:spMk id="93" creationId="{B0830749-5F78-4DEF-93CF-D3135B512002}"/>
          </ac:spMkLst>
        </pc:spChg>
        <pc:spChg chg="mod">
          <ac:chgData name="Ajwaliya, Nishit" userId="d6171631-3d08-453d-8afd-2dc62a5026e2" providerId="ADAL" clId="{678AD243-71C4-4A17-8592-AF5CDCD65377}" dt="2021-05-14T12:34:06.613" v="2666" actId="1037"/>
          <ac:spMkLst>
            <pc:docMk/>
            <pc:sldMk cId="1158991494" sldId="2147307470"/>
            <ac:spMk id="94" creationId="{115E88A7-9CEF-43C2-9C8E-7ED5D73B1E40}"/>
          </ac:spMkLst>
        </pc:spChg>
        <pc:spChg chg="mod">
          <ac:chgData name="Ajwaliya, Nishit" userId="d6171631-3d08-453d-8afd-2dc62a5026e2" providerId="ADAL" clId="{678AD243-71C4-4A17-8592-AF5CDCD65377}" dt="2021-05-14T12:50:08.321" v="3417" actId="1035"/>
          <ac:spMkLst>
            <pc:docMk/>
            <pc:sldMk cId="1158991494" sldId="2147307470"/>
            <ac:spMk id="95" creationId="{5AB72B2A-DF8F-453E-BBDB-09319A932182}"/>
          </ac:spMkLst>
        </pc:spChg>
        <pc:spChg chg="add del">
          <ac:chgData name="Ajwaliya, Nishit" userId="d6171631-3d08-453d-8afd-2dc62a5026e2" providerId="ADAL" clId="{678AD243-71C4-4A17-8592-AF5CDCD65377}" dt="2021-05-14T12:01:49.708" v="2423"/>
          <ac:spMkLst>
            <pc:docMk/>
            <pc:sldMk cId="1158991494" sldId="2147307470"/>
            <ac:spMk id="96" creationId="{7B7BC119-C2F7-4993-B654-2E96518CD3F2}"/>
          </ac:spMkLst>
        </pc:spChg>
        <pc:spChg chg="add del">
          <ac:chgData name="Ajwaliya, Nishit" userId="d6171631-3d08-453d-8afd-2dc62a5026e2" providerId="ADAL" clId="{678AD243-71C4-4A17-8592-AF5CDCD65377}" dt="2021-05-14T12:01:49.708" v="2423"/>
          <ac:spMkLst>
            <pc:docMk/>
            <pc:sldMk cId="1158991494" sldId="2147307470"/>
            <ac:spMk id="97" creationId="{61C67A8A-2B32-4AD9-A6E3-0FAA6B11E859}"/>
          </ac:spMkLst>
        </pc:spChg>
        <pc:spChg chg="mod">
          <ac:chgData name="Ajwaliya, Nishit" userId="d6171631-3d08-453d-8afd-2dc62a5026e2" providerId="ADAL" clId="{678AD243-71C4-4A17-8592-AF5CDCD65377}" dt="2021-05-14T12:50:08.321" v="3417" actId="1035"/>
          <ac:spMkLst>
            <pc:docMk/>
            <pc:sldMk cId="1158991494" sldId="2147307470"/>
            <ac:spMk id="98" creationId="{5AA7E979-BA3C-4B3C-AE4F-392AAB55CFC5}"/>
          </ac:spMkLst>
        </pc:spChg>
        <pc:spChg chg="mod">
          <ac:chgData name="Ajwaliya, Nishit" userId="d6171631-3d08-453d-8afd-2dc62a5026e2" providerId="ADAL" clId="{678AD243-71C4-4A17-8592-AF5CDCD65377}" dt="2021-06-29T21:41:19.087" v="10317" actId="1035"/>
          <ac:spMkLst>
            <pc:docMk/>
            <pc:sldMk cId="1158991494" sldId="2147307470"/>
            <ac:spMk id="99" creationId="{0797F56A-809D-4301-8362-E13AB01320D4}"/>
          </ac:spMkLst>
        </pc:spChg>
        <pc:spChg chg="del mod">
          <ac:chgData name="Ajwaliya, Nishit" userId="d6171631-3d08-453d-8afd-2dc62a5026e2" providerId="ADAL" clId="{678AD243-71C4-4A17-8592-AF5CDCD65377}" dt="2021-05-14T12:40:49.371" v="3008" actId="478"/>
          <ac:spMkLst>
            <pc:docMk/>
            <pc:sldMk cId="1158991494" sldId="2147307470"/>
            <ac:spMk id="100" creationId="{4EB4EEC8-27F1-45B4-A248-B28863684008}"/>
          </ac:spMkLst>
        </pc:spChg>
        <pc:spChg chg="add del">
          <ac:chgData name="Ajwaliya, Nishit" userId="d6171631-3d08-453d-8afd-2dc62a5026e2" providerId="ADAL" clId="{678AD243-71C4-4A17-8592-AF5CDCD65377}" dt="2021-05-14T12:01:49.708" v="2423"/>
          <ac:spMkLst>
            <pc:docMk/>
            <pc:sldMk cId="1158991494" sldId="2147307470"/>
            <ac:spMk id="101" creationId="{893B2A6E-46E3-416D-8DC2-4019A69C0823}"/>
          </ac:spMkLst>
        </pc:spChg>
        <pc:spChg chg="add del">
          <ac:chgData name="Ajwaliya, Nishit" userId="d6171631-3d08-453d-8afd-2dc62a5026e2" providerId="ADAL" clId="{678AD243-71C4-4A17-8592-AF5CDCD65377}" dt="2021-05-14T12:01:49.708" v="2423"/>
          <ac:spMkLst>
            <pc:docMk/>
            <pc:sldMk cId="1158991494" sldId="2147307470"/>
            <ac:spMk id="102" creationId="{141D9420-67EF-4BF8-8EAC-9E0706FFAA5F}"/>
          </ac:spMkLst>
        </pc:spChg>
        <pc:spChg chg="add del">
          <ac:chgData name="Ajwaliya, Nishit" userId="d6171631-3d08-453d-8afd-2dc62a5026e2" providerId="ADAL" clId="{678AD243-71C4-4A17-8592-AF5CDCD65377}" dt="2021-05-14T12:01:49.708" v="2423"/>
          <ac:spMkLst>
            <pc:docMk/>
            <pc:sldMk cId="1158991494" sldId="2147307470"/>
            <ac:spMk id="103" creationId="{996ED8A9-06AB-4A42-A107-C9E7A559B1B4}"/>
          </ac:spMkLst>
        </pc:spChg>
        <pc:spChg chg="add del">
          <ac:chgData name="Ajwaliya, Nishit" userId="d6171631-3d08-453d-8afd-2dc62a5026e2" providerId="ADAL" clId="{678AD243-71C4-4A17-8592-AF5CDCD65377}" dt="2021-05-14T12:01:49.708" v="2423"/>
          <ac:spMkLst>
            <pc:docMk/>
            <pc:sldMk cId="1158991494" sldId="2147307470"/>
            <ac:spMk id="104" creationId="{C321594D-EC02-415C-80A5-20081C297992}"/>
          </ac:spMkLst>
        </pc:spChg>
        <pc:spChg chg="mod">
          <ac:chgData name="Ajwaliya, Nishit" userId="d6171631-3d08-453d-8afd-2dc62a5026e2" providerId="ADAL" clId="{678AD243-71C4-4A17-8592-AF5CDCD65377}" dt="2021-05-14T12:36:33.815" v="2833" actId="1038"/>
          <ac:spMkLst>
            <pc:docMk/>
            <pc:sldMk cId="1158991494" sldId="2147307470"/>
            <ac:spMk id="105" creationId="{B4573916-DB99-4B23-AC58-52569CC342AA}"/>
          </ac:spMkLst>
        </pc:spChg>
        <pc:spChg chg="add del">
          <ac:chgData name="Ajwaliya, Nishit" userId="d6171631-3d08-453d-8afd-2dc62a5026e2" providerId="ADAL" clId="{678AD243-71C4-4A17-8592-AF5CDCD65377}" dt="2021-05-14T12:01:49.708" v="2423"/>
          <ac:spMkLst>
            <pc:docMk/>
            <pc:sldMk cId="1158991494" sldId="2147307470"/>
            <ac:spMk id="106" creationId="{90CEB91A-2753-4633-AC4D-F66826AA4BE5}"/>
          </ac:spMkLst>
        </pc:spChg>
        <pc:spChg chg="add del">
          <ac:chgData name="Ajwaliya, Nishit" userId="d6171631-3d08-453d-8afd-2dc62a5026e2" providerId="ADAL" clId="{678AD243-71C4-4A17-8592-AF5CDCD65377}" dt="2021-05-14T12:01:49.708" v="2423"/>
          <ac:spMkLst>
            <pc:docMk/>
            <pc:sldMk cId="1158991494" sldId="2147307470"/>
            <ac:spMk id="107" creationId="{DBECA6CB-F4DE-44EF-ADC6-EB691BED714F}"/>
          </ac:spMkLst>
        </pc:spChg>
        <pc:spChg chg="add del">
          <ac:chgData name="Ajwaliya, Nishit" userId="d6171631-3d08-453d-8afd-2dc62a5026e2" providerId="ADAL" clId="{678AD243-71C4-4A17-8592-AF5CDCD65377}" dt="2021-05-14T12:01:49.708" v="2423"/>
          <ac:spMkLst>
            <pc:docMk/>
            <pc:sldMk cId="1158991494" sldId="2147307470"/>
            <ac:spMk id="108" creationId="{8772FE75-30D5-4CEA-9BD5-7C958451B472}"/>
          </ac:spMkLst>
        </pc:spChg>
        <pc:spChg chg="mod">
          <ac:chgData name="Ajwaliya, Nishit" userId="d6171631-3d08-453d-8afd-2dc62a5026e2" providerId="ADAL" clId="{678AD243-71C4-4A17-8592-AF5CDCD65377}" dt="2021-06-25T13:05:23.977" v="9960" actId="14100"/>
          <ac:spMkLst>
            <pc:docMk/>
            <pc:sldMk cId="1158991494" sldId="2147307470"/>
            <ac:spMk id="109" creationId="{CF89E369-EB03-49C6-9A18-3BB68813A763}"/>
          </ac:spMkLst>
        </pc:spChg>
        <pc:spChg chg="mod">
          <ac:chgData name="Ajwaliya, Nishit" userId="d6171631-3d08-453d-8afd-2dc62a5026e2" providerId="ADAL" clId="{678AD243-71C4-4A17-8592-AF5CDCD65377}" dt="2021-06-29T21:28:37.680" v="10194" actId="1038"/>
          <ac:spMkLst>
            <pc:docMk/>
            <pc:sldMk cId="1158991494" sldId="2147307470"/>
            <ac:spMk id="110" creationId="{3ED3E7B4-0F93-46FE-A655-30429F9DAD58}"/>
          </ac:spMkLst>
        </pc:spChg>
        <pc:spChg chg="mod">
          <ac:chgData name="Ajwaliya, Nishit" userId="d6171631-3d08-453d-8afd-2dc62a5026e2" providerId="ADAL" clId="{678AD243-71C4-4A17-8592-AF5CDCD65377}" dt="2021-06-29T21:28:37.680" v="10194" actId="1038"/>
          <ac:spMkLst>
            <pc:docMk/>
            <pc:sldMk cId="1158991494" sldId="2147307470"/>
            <ac:spMk id="111" creationId="{9AC7AD22-DC72-49AE-AD8B-A1B8E353A061}"/>
          </ac:spMkLst>
        </pc:spChg>
        <pc:spChg chg="add del">
          <ac:chgData name="Ajwaliya, Nishit" userId="d6171631-3d08-453d-8afd-2dc62a5026e2" providerId="ADAL" clId="{678AD243-71C4-4A17-8592-AF5CDCD65377}" dt="2021-05-14T12:01:49.708" v="2423"/>
          <ac:spMkLst>
            <pc:docMk/>
            <pc:sldMk cId="1158991494" sldId="2147307470"/>
            <ac:spMk id="112" creationId="{C140E39F-430E-44B4-AB5E-E423DF8FF556}"/>
          </ac:spMkLst>
        </pc:spChg>
        <pc:spChg chg="add del">
          <ac:chgData name="Ajwaliya, Nishit" userId="d6171631-3d08-453d-8afd-2dc62a5026e2" providerId="ADAL" clId="{678AD243-71C4-4A17-8592-AF5CDCD65377}" dt="2021-05-14T12:01:49.708" v="2423"/>
          <ac:spMkLst>
            <pc:docMk/>
            <pc:sldMk cId="1158991494" sldId="2147307470"/>
            <ac:spMk id="113" creationId="{673E4698-67FA-4BA5-ACB7-7448302B0200}"/>
          </ac:spMkLst>
        </pc:spChg>
        <pc:spChg chg="mod">
          <ac:chgData name="Ajwaliya, Nishit" userId="d6171631-3d08-453d-8afd-2dc62a5026e2" providerId="ADAL" clId="{678AD243-71C4-4A17-8592-AF5CDCD65377}" dt="2021-03-01T21:56:11.260" v="46" actId="108"/>
          <ac:spMkLst>
            <pc:docMk/>
            <pc:sldMk cId="1158991494" sldId="2147307470"/>
            <ac:spMk id="115" creationId="{EF9B9B90-7C37-49DA-B8B5-0515CDC82E3D}"/>
          </ac:spMkLst>
        </pc:spChg>
        <pc:spChg chg="add del mod">
          <ac:chgData name="Ajwaliya, Nishit" userId="d6171631-3d08-453d-8afd-2dc62a5026e2" providerId="ADAL" clId="{678AD243-71C4-4A17-8592-AF5CDCD65377}" dt="2021-05-14T12:33:52.028" v="2593" actId="478"/>
          <ac:spMkLst>
            <pc:docMk/>
            <pc:sldMk cId="1158991494" sldId="2147307470"/>
            <ac:spMk id="116" creationId="{89078D9E-4051-4BDD-AD65-AAC07DCED2C2}"/>
          </ac:spMkLst>
        </pc:spChg>
        <pc:spChg chg="add del mod">
          <ac:chgData name="Ajwaliya, Nishit" userId="d6171631-3d08-453d-8afd-2dc62a5026e2" providerId="ADAL" clId="{678AD243-71C4-4A17-8592-AF5CDCD65377}" dt="2021-05-14T12:33:52.028" v="2593" actId="478"/>
          <ac:spMkLst>
            <pc:docMk/>
            <pc:sldMk cId="1158991494" sldId="2147307470"/>
            <ac:spMk id="117" creationId="{18956F70-050F-4DA3-BDBC-CCDCE1F7AD2F}"/>
          </ac:spMkLst>
        </pc:spChg>
        <pc:spChg chg="del">
          <ac:chgData name="Ajwaliya, Nishit" userId="d6171631-3d08-453d-8afd-2dc62a5026e2" providerId="ADAL" clId="{678AD243-71C4-4A17-8592-AF5CDCD65377}" dt="2021-05-14T12:01:55.155" v="2424" actId="478"/>
          <ac:spMkLst>
            <pc:docMk/>
            <pc:sldMk cId="1158991494" sldId="2147307470"/>
            <ac:spMk id="118" creationId="{DDE9BE42-6A33-497E-BDCF-080379C51701}"/>
          </ac:spMkLst>
        </pc:spChg>
        <pc:spChg chg="del">
          <ac:chgData name="Ajwaliya, Nishit" userId="d6171631-3d08-453d-8afd-2dc62a5026e2" providerId="ADAL" clId="{678AD243-71C4-4A17-8592-AF5CDCD65377}" dt="2021-05-14T12:01:55.155" v="2424" actId="478"/>
          <ac:spMkLst>
            <pc:docMk/>
            <pc:sldMk cId="1158991494" sldId="2147307470"/>
            <ac:spMk id="119" creationId="{667A639C-B9C3-4DD1-ABE8-08EA94BC3D84}"/>
          </ac:spMkLst>
        </pc:spChg>
        <pc:spChg chg="del">
          <ac:chgData name="Ajwaliya, Nishit" userId="d6171631-3d08-453d-8afd-2dc62a5026e2" providerId="ADAL" clId="{678AD243-71C4-4A17-8592-AF5CDCD65377}" dt="2021-05-14T12:01:55.155" v="2424" actId="478"/>
          <ac:spMkLst>
            <pc:docMk/>
            <pc:sldMk cId="1158991494" sldId="2147307470"/>
            <ac:spMk id="120" creationId="{0985C24F-0727-47A9-A4DC-E0DF87EF2AAF}"/>
          </ac:spMkLst>
        </pc:spChg>
        <pc:spChg chg="del">
          <ac:chgData name="Ajwaliya, Nishit" userId="d6171631-3d08-453d-8afd-2dc62a5026e2" providerId="ADAL" clId="{678AD243-71C4-4A17-8592-AF5CDCD65377}" dt="2021-05-14T12:01:55.155" v="2424" actId="478"/>
          <ac:spMkLst>
            <pc:docMk/>
            <pc:sldMk cId="1158991494" sldId="2147307470"/>
            <ac:spMk id="121" creationId="{378FE9D9-C8AA-4E60-9C0C-66590B1E21BF}"/>
          </ac:spMkLst>
        </pc:spChg>
        <pc:spChg chg="add del mod">
          <ac:chgData name="Ajwaliya, Nishit" userId="d6171631-3d08-453d-8afd-2dc62a5026e2" providerId="ADAL" clId="{678AD243-71C4-4A17-8592-AF5CDCD65377}" dt="2021-05-14T12:34:16.352" v="2673" actId="1037"/>
          <ac:spMkLst>
            <pc:docMk/>
            <pc:sldMk cId="1158991494" sldId="2147307470"/>
            <ac:spMk id="123" creationId="{208B7F13-5106-448C-82E6-F96F59974ECA}"/>
          </ac:spMkLst>
        </pc:spChg>
        <pc:spChg chg="mod">
          <ac:chgData name="Ajwaliya, Nishit" userId="d6171631-3d08-453d-8afd-2dc62a5026e2" providerId="ADAL" clId="{678AD243-71C4-4A17-8592-AF5CDCD65377}" dt="2021-05-14T12:50:08.321" v="3417" actId="1035"/>
          <ac:spMkLst>
            <pc:docMk/>
            <pc:sldMk cId="1158991494" sldId="2147307470"/>
            <ac:spMk id="124" creationId="{A9A4AF36-1F60-487A-AE5A-EDB32BF21703}"/>
          </ac:spMkLst>
        </pc:spChg>
        <pc:spChg chg="mod">
          <ac:chgData name="Ajwaliya, Nishit" userId="d6171631-3d08-453d-8afd-2dc62a5026e2" providerId="ADAL" clId="{678AD243-71C4-4A17-8592-AF5CDCD65377}" dt="2021-05-14T12:36:33.815" v="2833" actId="1038"/>
          <ac:spMkLst>
            <pc:docMk/>
            <pc:sldMk cId="1158991494" sldId="2147307470"/>
            <ac:spMk id="125" creationId="{52A67E2D-C2F3-4733-9637-2223D3186D9D}"/>
          </ac:spMkLst>
        </pc:spChg>
        <pc:spChg chg="mod">
          <ac:chgData name="Ajwaliya, Nishit" userId="d6171631-3d08-453d-8afd-2dc62a5026e2" providerId="ADAL" clId="{678AD243-71C4-4A17-8592-AF5CDCD65377}" dt="2021-05-14T12:36:33.815" v="2833" actId="1038"/>
          <ac:spMkLst>
            <pc:docMk/>
            <pc:sldMk cId="1158991494" sldId="2147307470"/>
            <ac:spMk id="126" creationId="{F24ED024-8BEE-474D-A1C7-731AE9E7D118}"/>
          </ac:spMkLst>
        </pc:spChg>
        <pc:spChg chg="add del">
          <ac:chgData name="Ajwaliya, Nishit" userId="d6171631-3d08-453d-8afd-2dc62a5026e2" providerId="ADAL" clId="{678AD243-71C4-4A17-8592-AF5CDCD65377}" dt="2021-05-14T12:01:49.708" v="2423"/>
          <ac:spMkLst>
            <pc:docMk/>
            <pc:sldMk cId="1158991494" sldId="2147307470"/>
            <ac:spMk id="128" creationId="{9D3ECC25-7164-4BAF-AFD7-E4133D6FE3AF}"/>
          </ac:spMkLst>
        </pc:spChg>
        <pc:spChg chg="mod">
          <ac:chgData name="Ajwaliya, Nishit" userId="d6171631-3d08-453d-8afd-2dc62a5026e2" providerId="ADAL" clId="{678AD243-71C4-4A17-8592-AF5CDCD65377}" dt="2021-05-14T12:35:41.733" v="2771" actId="1038"/>
          <ac:spMkLst>
            <pc:docMk/>
            <pc:sldMk cId="1158991494" sldId="2147307470"/>
            <ac:spMk id="129" creationId="{B7A413CE-36EC-41AD-A2C1-256E12BF6252}"/>
          </ac:spMkLst>
        </pc:spChg>
        <pc:spChg chg="del">
          <ac:chgData name="Ajwaliya, Nishit" userId="d6171631-3d08-453d-8afd-2dc62a5026e2" providerId="ADAL" clId="{678AD243-71C4-4A17-8592-AF5CDCD65377}" dt="2021-05-14T12:01:55.155" v="2424" actId="478"/>
          <ac:spMkLst>
            <pc:docMk/>
            <pc:sldMk cId="1158991494" sldId="2147307470"/>
            <ac:spMk id="130" creationId="{8D198724-3E6B-4504-AE71-7A5090A86AB4}"/>
          </ac:spMkLst>
        </pc:spChg>
        <pc:spChg chg="add del">
          <ac:chgData name="Ajwaliya, Nishit" userId="d6171631-3d08-453d-8afd-2dc62a5026e2" providerId="ADAL" clId="{678AD243-71C4-4A17-8592-AF5CDCD65377}" dt="2021-05-14T12:01:49.708" v="2423"/>
          <ac:spMkLst>
            <pc:docMk/>
            <pc:sldMk cId="1158991494" sldId="2147307470"/>
            <ac:spMk id="131" creationId="{57F9D9E6-4169-4EB3-9BE5-9B0EBDCC5E9C}"/>
          </ac:spMkLst>
        </pc:spChg>
        <pc:spChg chg="add del">
          <ac:chgData name="Ajwaliya, Nishit" userId="d6171631-3d08-453d-8afd-2dc62a5026e2" providerId="ADAL" clId="{678AD243-71C4-4A17-8592-AF5CDCD65377}" dt="2021-05-14T12:01:49.708" v="2423"/>
          <ac:spMkLst>
            <pc:docMk/>
            <pc:sldMk cId="1158991494" sldId="2147307470"/>
            <ac:spMk id="132" creationId="{CA38AB6F-4084-435A-BE19-E3B8D0F1E96B}"/>
          </ac:spMkLst>
        </pc:spChg>
        <pc:spChg chg="add del">
          <ac:chgData name="Ajwaliya, Nishit" userId="d6171631-3d08-453d-8afd-2dc62a5026e2" providerId="ADAL" clId="{678AD243-71C4-4A17-8592-AF5CDCD65377}" dt="2021-05-14T12:01:49.708" v="2423"/>
          <ac:spMkLst>
            <pc:docMk/>
            <pc:sldMk cId="1158991494" sldId="2147307470"/>
            <ac:spMk id="133" creationId="{2B402DB1-94CC-4DBB-A014-0BA050DB1018}"/>
          </ac:spMkLst>
        </pc:spChg>
        <pc:spChg chg="add del">
          <ac:chgData name="Ajwaliya, Nishit" userId="d6171631-3d08-453d-8afd-2dc62a5026e2" providerId="ADAL" clId="{678AD243-71C4-4A17-8592-AF5CDCD65377}" dt="2021-05-14T12:01:49.708" v="2423"/>
          <ac:spMkLst>
            <pc:docMk/>
            <pc:sldMk cId="1158991494" sldId="2147307470"/>
            <ac:spMk id="134" creationId="{2182D2BD-A696-48F5-867F-A5E7C7903C79}"/>
          </ac:spMkLst>
        </pc:spChg>
        <pc:spChg chg="mod">
          <ac:chgData name="Ajwaliya, Nishit" userId="d6171631-3d08-453d-8afd-2dc62a5026e2" providerId="ADAL" clId="{678AD243-71C4-4A17-8592-AF5CDCD65377}" dt="2021-05-14T12:40:30.175" v="3004" actId="1035"/>
          <ac:spMkLst>
            <pc:docMk/>
            <pc:sldMk cId="1158991494" sldId="2147307470"/>
            <ac:spMk id="135" creationId="{8F843517-88D8-49AE-A354-3849343C8B63}"/>
          </ac:spMkLst>
        </pc:spChg>
        <pc:spChg chg="add del">
          <ac:chgData name="Ajwaliya, Nishit" userId="d6171631-3d08-453d-8afd-2dc62a5026e2" providerId="ADAL" clId="{678AD243-71C4-4A17-8592-AF5CDCD65377}" dt="2021-05-14T12:01:49.708" v="2423"/>
          <ac:spMkLst>
            <pc:docMk/>
            <pc:sldMk cId="1158991494" sldId="2147307470"/>
            <ac:spMk id="136" creationId="{8D5EAD4A-D3FA-411D-8412-6709D1147416}"/>
          </ac:spMkLst>
        </pc:spChg>
        <pc:spChg chg="add del">
          <ac:chgData name="Ajwaliya, Nishit" userId="d6171631-3d08-453d-8afd-2dc62a5026e2" providerId="ADAL" clId="{678AD243-71C4-4A17-8592-AF5CDCD65377}" dt="2021-05-14T12:01:49.708" v="2423"/>
          <ac:spMkLst>
            <pc:docMk/>
            <pc:sldMk cId="1158991494" sldId="2147307470"/>
            <ac:spMk id="137" creationId="{3F25A214-F886-4DE1-86F6-318C49E4AEB9}"/>
          </ac:spMkLst>
        </pc:spChg>
        <pc:spChg chg="add del">
          <ac:chgData name="Ajwaliya, Nishit" userId="d6171631-3d08-453d-8afd-2dc62a5026e2" providerId="ADAL" clId="{678AD243-71C4-4A17-8592-AF5CDCD65377}" dt="2021-05-14T12:01:49.708" v="2423"/>
          <ac:spMkLst>
            <pc:docMk/>
            <pc:sldMk cId="1158991494" sldId="2147307470"/>
            <ac:spMk id="138" creationId="{EDD435A4-5A96-4447-B2DE-555FB1547F12}"/>
          </ac:spMkLst>
        </pc:spChg>
        <pc:spChg chg="del">
          <ac:chgData name="Ajwaliya, Nishit" userId="d6171631-3d08-453d-8afd-2dc62a5026e2" providerId="ADAL" clId="{678AD243-71C4-4A17-8592-AF5CDCD65377}" dt="2021-05-14T12:01:55.155" v="2424" actId="478"/>
          <ac:spMkLst>
            <pc:docMk/>
            <pc:sldMk cId="1158991494" sldId="2147307470"/>
            <ac:spMk id="139" creationId="{B63DC23E-751D-488B-90E7-2F7AB4022685}"/>
          </ac:spMkLst>
        </pc:spChg>
        <pc:spChg chg="del">
          <ac:chgData name="Ajwaliya, Nishit" userId="d6171631-3d08-453d-8afd-2dc62a5026e2" providerId="ADAL" clId="{678AD243-71C4-4A17-8592-AF5CDCD65377}" dt="2021-05-14T12:01:55.155" v="2424" actId="478"/>
          <ac:spMkLst>
            <pc:docMk/>
            <pc:sldMk cId="1158991494" sldId="2147307470"/>
            <ac:spMk id="140" creationId="{3FCD83B7-1EFF-4CD9-A187-C738E53A836A}"/>
          </ac:spMkLst>
        </pc:spChg>
        <pc:spChg chg="del">
          <ac:chgData name="Ajwaliya, Nishit" userId="d6171631-3d08-453d-8afd-2dc62a5026e2" providerId="ADAL" clId="{678AD243-71C4-4A17-8592-AF5CDCD65377}" dt="2021-05-14T12:01:55.155" v="2424" actId="478"/>
          <ac:spMkLst>
            <pc:docMk/>
            <pc:sldMk cId="1158991494" sldId="2147307470"/>
            <ac:spMk id="141" creationId="{24BC9807-652F-4E51-9BD1-4BC56411F2C3}"/>
          </ac:spMkLst>
        </pc:spChg>
        <pc:spChg chg="del">
          <ac:chgData name="Ajwaliya, Nishit" userId="d6171631-3d08-453d-8afd-2dc62a5026e2" providerId="ADAL" clId="{678AD243-71C4-4A17-8592-AF5CDCD65377}" dt="2021-05-14T12:01:55.155" v="2424" actId="478"/>
          <ac:spMkLst>
            <pc:docMk/>
            <pc:sldMk cId="1158991494" sldId="2147307470"/>
            <ac:spMk id="142" creationId="{9D0244C2-2821-409C-B8E1-65B491BC114F}"/>
          </ac:spMkLst>
        </pc:spChg>
        <pc:spChg chg="add del">
          <ac:chgData name="Ajwaliya, Nishit" userId="d6171631-3d08-453d-8afd-2dc62a5026e2" providerId="ADAL" clId="{678AD243-71C4-4A17-8592-AF5CDCD65377}" dt="2021-05-14T12:01:49.708" v="2423"/>
          <ac:spMkLst>
            <pc:docMk/>
            <pc:sldMk cId="1158991494" sldId="2147307470"/>
            <ac:spMk id="143" creationId="{D2CE7838-BBA1-4BDD-9B9A-D5EBFCC35C5A}"/>
          </ac:spMkLst>
        </pc:spChg>
        <pc:spChg chg="add del">
          <ac:chgData name="Ajwaliya, Nishit" userId="d6171631-3d08-453d-8afd-2dc62a5026e2" providerId="ADAL" clId="{678AD243-71C4-4A17-8592-AF5CDCD65377}" dt="2021-05-14T12:01:49.708" v="2423"/>
          <ac:spMkLst>
            <pc:docMk/>
            <pc:sldMk cId="1158991494" sldId="2147307470"/>
            <ac:spMk id="144" creationId="{42BCF9BD-4357-446F-AE78-2E4B15A5F523}"/>
          </ac:spMkLst>
        </pc:spChg>
        <pc:spChg chg="add">
          <ac:chgData name="Ajwaliya, Nishit" userId="d6171631-3d08-453d-8afd-2dc62a5026e2" providerId="ADAL" clId="{678AD243-71C4-4A17-8592-AF5CDCD65377}" dt="2021-05-14T12:01:56.248" v="2425"/>
          <ac:spMkLst>
            <pc:docMk/>
            <pc:sldMk cId="1158991494" sldId="2147307470"/>
            <ac:spMk id="145" creationId="{508DE99C-56CD-4555-801B-5890243650DB}"/>
          </ac:spMkLst>
        </pc:spChg>
        <pc:spChg chg="add">
          <ac:chgData name="Ajwaliya, Nishit" userId="d6171631-3d08-453d-8afd-2dc62a5026e2" providerId="ADAL" clId="{678AD243-71C4-4A17-8592-AF5CDCD65377}" dt="2021-05-14T12:01:56.248" v="2425"/>
          <ac:spMkLst>
            <pc:docMk/>
            <pc:sldMk cId="1158991494" sldId="2147307470"/>
            <ac:spMk id="146" creationId="{7CD7B8BA-BB65-472C-9B5A-85673B7D7AC1}"/>
          </ac:spMkLst>
        </pc:spChg>
        <pc:spChg chg="add">
          <ac:chgData name="Ajwaliya, Nishit" userId="d6171631-3d08-453d-8afd-2dc62a5026e2" providerId="ADAL" clId="{678AD243-71C4-4A17-8592-AF5CDCD65377}" dt="2021-05-14T12:01:56.248" v="2425"/>
          <ac:spMkLst>
            <pc:docMk/>
            <pc:sldMk cId="1158991494" sldId="2147307470"/>
            <ac:spMk id="147" creationId="{0697FB81-66EC-4041-A003-7851E527F772}"/>
          </ac:spMkLst>
        </pc:spChg>
        <pc:spChg chg="add">
          <ac:chgData name="Ajwaliya, Nishit" userId="d6171631-3d08-453d-8afd-2dc62a5026e2" providerId="ADAL" clId="{678AD243-71C4-4A17-8592-AF5CDCD65377}" dt="2021-05-14T12:01:56.248" v="2425"/>
          <ac:spMkLst>
            <pc:docMk/>
            <pc:sldMk cId="1158991494" sldId="2147307470"/>
            <ac:spMk id="148" creationId="{A19CD2CC-15AF-43EE-B966-FF25843CD675}"/>
          </ac:spMkLst>
        </pc:spChg>
        <pc:spChg chg="add">
          <ac:chgData name="Ajwaliya, Nishit" userId="d6171631-3d08-453d-8afd-2dc62a5026e2" providerId="ADAL" clId="{678AD243-71C4-4A17-8592-AF5CDCD65377}" dt="2021-05-14T12:01:56.248" v="2425"/>
          <ac:spMkLst>
            <pc:docMk/>
            <pc:sldMk cId="1158991494" sldId="2147307470"/>
            <ac:spMk id="149" creationId="{86B94B09-79D4-4BAD-87D0-55D90D0043B6}"/>
          </ac:spMkLst>
        </pc:spChg>
        <pc:spChg chg="add">
          <ac:chgData name="Ajwaliya, Nishit" userId="d6171631-3d08-453d-8afd-2dc62a5026e2" providerId="ADAL" clId="{678AD243-71C4-4A17-8592-AF5CDCD65377}" dt="2021-05-14T12:01:56.248" v="2425"/>
          <ac:spMkLst>
            <pc:docMk/>
            <pc:sldMk cId="1158991494" sldId="2147307470"/>
            <ac:spMk id="150" creationId="{1A6D0E8F-6C37-42A0-8B40-2AA69FBABFA5}"/>
          </ac:spMkLst>
        </pc:spChg>
        <pc:spChg chg="add">
          <ac:chgData name="Ajwaliya, Nishit" userId="d6171631-3d08-453d-8afd-2dc62a5026e2" providerId="ADAL" clId="{678AD243-71C4-4A17-8592-AF5CDCD65377}" dt="2021-05-14T12:01:56.248" v="2425"/>
          <ac:spMkLst>
            <pc:docMk/>
            <pc:sldMk cId="1158991494" sldId="2147307470"/>
            <ac:spMk id="151" creationId="{1D5226EA-28B1-46DA-8368-194C4120FF60}"/>
          </ac:spMkLst>
        </pc:spChg>
        <pc:spChg chg="add">
          <ac:chgData name="Ajwaliya, Nishit" userId="d6171631-3d08-453d-8afd-2dc62a5026e2" providerId="ADAL" clId="{678AD243-71C4-4A17-8592-AF5CDCD65377}" dt="2021-05-14T12:01:56.248" v="2425"/>
          <ac:spMkLst>
            <pc:docMk/>
            <pc:sldMk cId="1158991494" sldId="2147307470"/>
            <ac:spMk id="152" creationId="{15C79410-BB11-47AC-B2E3-EC89E08612CB}"/>
          </ac:spMkLst>
        </pc:spChg>
        <pc:spChg chg="add">
          <ac:chgData name="Ajwaliya, Nishit" userId="d6171631-3d08-453d-8afd-2dc62a5026e2" providerId="ADAL" clId="{678AD243-71C4-4A17-8592-AF5CDCD65377}" dt="2021-05-14T12:01:56.248" v="2425"/>
          <ac:spMkLst>
            <pc:docMk/>
            <pc:sldMk cId="1158991494" sldId="2147307470"/>
            <ac:spMk id="153" creationId="{BB480C50-85B8-45AC-9CD2-5857C0CF8D81}"/>
          </ac:spMkLst>
        </pc:spChg>
        <pc:spChg chg="add">
          <ac:chgData name="Ajwaliya, Nishit" userId="d6171631-3d08-453d-8afd-2dc62a5026e2" providerId="ADAL" clId="{678AD243-71C4-4A17-8592-AF5CDCD65377}" dt="2021-05-14T12:01:56.248" v="2425"/>
          <ac:spMkLst>
            <pc:docMk/>
            <pc:sldMk cId="1158991494" sldId="2147307470"/>
            <ac:spMk id="154" creationId="{FC9433A7-864B-4B7C-ACF6-7E67B61B6B99}"/>
          </ac:spMkLst>
        </pc:spChg>
        <pc:spChg chg="add">
          <ac:chgData name="Ajwaliya, Nishit" userId="d6171631-3d08-453d-8afd-2dc62a5026e2" providerId="ADAL" clId="{678AD243-71C4-4A17-8592-AF5CDCD65377}" dt="2021-05-14T12:01:56.248" v="2425"/>
          <ac:spMkLst>
            <pc:docMk/>
            <pc:sldMk cId="1158991494" sldId="2147307470"/>
            <ac:spMk id="155" creationId="{D223A345-2201-41E4-A4FC-A396C9DC49D6}"/>
          </ac:spMkLst>
        </pc:spChg>
        <pc:spChg chg="del mod">
          <ac:chgData name="Ajwaliya, Nishit" userId="d6171631-3d08-453d-8afd-2dc62a5026e2" providerId="ADAL" clId="{678AD243-71C4-4A17-8592-AF5CDCD65377}" dt="2021-05-14T12:37:57.347" v="2904" actId="478"/>
          <ac:spMkLst>
            <pc:docMk/>
            <pc:sldMk cId="1158991494" sldId="2147307470"/>
            <ac:spMk id="157" creationId="{B3451BFA-0292-434B-8396-B6B0C4FCE419}"/>
          </ac:spMkLst>
        </pc:spChg>
        <pc:spChg chg="del mod">
          <ac:chgData name="Ajwaliya, Nishit" userId="d6171631-3d08-453d-8afd-2dc62a5026e2" providerId="ADAL" clId="{678AD243-71C4-4A17-8592-AF5CDCD65377}" dt="2021-05-14T12:44:20.422" v="3276" actId="478"/>
          <ac:spMkLst>
            <pc:docMk/>
            <pc:sldMk cId="1158991494" sldId="2147307470"/>
            <ac:spMk id="158" creationId="{0A42A242-C9E3-48B3-9BF9-8162A1030B2B}"/>
          </ac:spMkLst>
        </pc:spChg>
        <pc:spChg chg="mod">
          <ac:chgData name="Ajwaliya, Nishit" userId="d6171631-3d08-453d-8afd-2dc62a5026e2" providerId="ADAL" clId="{678AD243-71C4-4A17-8592-AF5CDCD65377}" dt="2021-05-14T12:50:08.321" v="3417" actId="1035"/>
          <ac:spMkLst>
            <pc:docMk/>
            <pc:sldMk cId="1158991494" sldId="2147307470"/>
            <ac:spMk id="159" creationId="{6E2FBDDF-1480-44CA-87F9-749D6E7FC35E}"/>
          </ac:spMkLst>
        </pc:spChg>
        <pc:spChg chg="del mod">
          <ac:chgData name="Ajwaliya, Nishit" userId="d6171631-3d08-453d-8afd-2dc62a5026e2" providerId="ADAL" clId="{678AD243-71C4-4A17-8592-AF5CDCD65377}" dt="2021-05-14T12:40:49.371" v="3008" actId="478"/>
          <ac:spMkLst>
            <pc:docMk/>
            <pc:sldMk cId="1158991494" sldId="2147307470"/>
            <ac:spMk id="160" creationId="{C4C3C3DD-E45F-4221-B65C-8C76AE5CC444}"/>
          </ac:spMkLst>
        </pc:spChg>
        <pc:spChg chg="mod">
          <ac:chgData name="Ajwaliya, Nishit" userId="d6171631-3d08-453d-8afd-2dc62a5026e2" providerId="ADAL" clId="{678AD243-71C4-4A17-8592-AF5CDCD65377}" dt="2021-05-14T12:50:08.321" v="3417" actId="1035"/>
          <ac:spMkLst>
            <pc:docMk/>
            <pc:sldMk cId="1158991494" sldId="2147307470"/>
            <ac:spMk id="161" creationId="{BF6EAA31-302B-4075-AF3E-8E4DC4D6E859}"/>
          </ac:spMkLst>
        </pc:spChg>
        <pc:spChg chg="mod">
          <ac:chgData name="Ajwaliya, Nishit" userId="d6171631-3d08-453d-8afd-2dc62a5026e2" providerId="ADAL" clId="{678AD243-71C4-4A17-8592-AF5CDCD65377}" dt="2021-05-14T12:50:08.321" v="3417" actId="1035"/>
          <ac:spMkLst>
            <pc:docMk/>
            <pc:sldMk cId="1158991494" sldId="2147307470"/>
            <ac:spMk id="162" creationId="{4A0D0A1D-A832-4E72-8BE0-809013609FC9}"/>
          </ac:spMkLst>
        </pc:spChg>
        <pc:spChg chg="del">
          <ac:chgData name="Ajwaliya, Nishit" userId="d6171631-3d08-453d-8afd-2dc62a5026e2" providerId="ADAL" clId="{678AD243-71C4-4A17-8592-AF5CDCD65377}" dt="2021-05-14T12:32:34.942" v="2553" actId="478"/>
          <ac:spMkLst>
            <pc:docMk/>
            <pc:sldMk cId="1158991494" sldId="2147307470"/>
            <ac:spMk id="163" creationId="{6EE5B453-2253-48E2-958D-4098EB4A9B31}"/>
          </ac:spMkLst>
        </pc:spChg>
        <pc:spChg chg="mod">
          <ac:chgData name="Ajwaliya, Nishit" userId="d6171631-3d08-453d-8afd-2dc62a5026e2" providerId="ADAL" clId="{678AD243-71C4-4A17-8592-AF5CDCD65377}" dt="2021-05-14T12:48:00.243" v="3388" actId="1038"/>
          <ac:spMkLst>
            <pc:docMk/>
            <pc:sldMk cId="1158991494" sldId="2147307470"/>
            <ac:spMk id="164" creationId="{796E9B9A-40A6-401A-88CA-AF2B6A57647E}"/>
          </ac:spMkLst>
        </pc:spChg>
        <pc:spChg chg="del">
          <ac:chgData name="Ajwaliya, Nishit" userId="d6171631-3d08-453d-8afd-2dc62a5026e2" providerId="ADAL" clId="{678AD243-71C4-4A17-8592-AF5CDCD65377}" dt="2021-05-14T12:31:40.216" v="2524" actId="478"/>
          <ac:spMkLst>
            <pc:docMk/>
            <pc:sldMk cId="1158991494" sldId="2147307470"/>
            <ac:spMk id="165" creationId="{8166C9C8-E689-40DF-A633-1C25EB218451}"/>
          </ac:spMkLst>
        </pc:spChg>
        <pc:spChg chg="add">
          <ac:chgData name="Ajwaliya, Nishit" userId="d6171631-3d08-453d-8afd-2dc62a5026e2" providerId="ADAL" clId="{678AD243-71C4-4A17-8592-AF5CDCD65377}" dt="2021-05-14T12:01:56.248" v="2425"/>
          <ac:spMkLst>
            <pc:docMk/>
            <pc:sldMk cId="1158991494" sldId="2147307470"/>
            <ac:spMk id="166" creationId="{A48A9DAC-EDDF-4FA4-AB69-B9AF3D470088}"/>
          </ac:spMkLst>
        </pc:spChg>
        <pc:spChg chg="add">
          <ac:chgData name="Ajwaliya, Nishit" userId="d6171631-3d08-453d-8afd-2dc62a5026e2" providerId="ADAL" clId="{678AD243-71C4-4A17-8592-AF5CDCD65377}" dt="2021-05-14T12:01:56.248" v="2425"/>
          <ac:spMkLst>
            <pc:docMk/>
            <pc:sldMk cId="1158991494" sldId="2147307470"/>
            <ac:spMk id="167" creationId="{B6C0A70E-B792-4099-BCB5-5EFDC8DAF0A3}"/>
          </ac:spMkLst>
        </pc:spChg>
        <pc:spChg chg="add">
          <ac:chgData name="Ajwaliya, Nishit" userId="d6171631-3d08-453d-8afd-2dc62a5026e2" providerId="ADAL" clId="{678AD243-71C4-4A17-8592-AF5CDCD65377}" dt="2021-05-14T12:01:56.248" v="2425"/>
          <ac:spMkLst>
            <pc:docMk/>
            <pc:sldMk cId="1158991494" sldId="2147307470"/>
            <ac:spMk id="168" creationId="{2FD8B043-16A8-439D-92B4-3AFD6CC6E9AD}"/>
          </ac:spMkLst>
        </pc:spChg>
        <pc:spChg chg="add">
          <ac:chgData name="Ajwaliya, Nishit" userId="d6171631-3d08-453d-8afd-2dc62a5026e2" providerId="ADAL" clId="{678AD243-71C4-4A17-8592-AF5CDCD65377}" dt="2021-05-14T12:01:56.248" v="2425"/>
          <ac:spMkLst>
            <pc:docMk/>
            <pc:sldMk cId="1158991494" sldId="2147307470"/>
            <ac:spMk id="169" creationId="{F991153D-EB81-48D3-87FA-7B15D24EEFBA}"/>
          </ac:spMkLst>
        </pc:spChg>
        <pc:spChg chg="add">
          <ac:chgData name="Ajwaliya, Nishit" userId="d6171631-3d08-453d-8afd-2dc62a5026e2" providerId="ADAL" clId="{678AD243-71C4-4A17-8592-AF5CDCD65377}" dt="2021-05-14T12:01:56.248" v="2425"/>
          <ac:spMkLst>
            <pc:docMk/>
            <pc:sldMk cId="1158991494" sldId="2147307470"/>
            <ac:spMk id="170" creationId="{A1CD456E-FCB2-4AF9-AEA3-356CD75A21CC}"/>
          </ac:spMkLst>
        </pc:spChg>
        <pc:spChg chg="add">
          <ac:chgData name="Ajwaliya, Nishit" userId="d6171631-3d08-453d-8afd-2dc62a5026e2" providerId="ADAL" clId="{678AD243-71C4-4A17-8592-AF5CDCD65377}" dt="2021-05-14T12:01:56.248" v="2425"/>
          <ac:spMkLst>
            <pc:docMk/>
            <pc:sldMk cId="1158991494" sldId="2147307470"/>
            <ac:spMk id="171" creationId="{E7507753-7F79-4108-985C-6DE9D9735AB6}"/>
          </ac:spMkLst>
        </pc:spChg>
        <pc:spChg chg="add">
          <ac:chgData name="Ajwaliya, Nishit" userId="d6171631-3d08-453d-8afd-2dc62a5026e2" providerId="ADAL" clId="{678AD243-71C4-4A17-8592-AF5CDCD65377}" dt="2021-05-14T12:01:56.248" v="2425"/>
          <ac:spMkLst>
            <pc:docMk/>
            <pc:sldMk cId="1158991494" sldId="2147307470"/>
            <ac:spMk id="172" creationId="{21E9E38E-D06D-44A9-A0E6-C57DA82C1AD4}"/>
          </ac:spMkLst>
        </pc:spChg>
        <pc:spChg chg="add">
          <ac:chgData name="Ajwaliya, Nishit" userId="d6171631-3d08-453d-8afd-2dc62a5026e2" providerId="ADAL" clId="{678AD243-71C4-4A17-8592-AF5CDCD65377}" dt="2021-05-14T12:01:56.248" v="2425"/>
          <ac:spMkLst>
            <pc:docMk/>
            <pc:sldMk cId="1158991494" sldId="2147307470"/>
            <ac:spMk id="173" creationId="{4ACE9AF7-8D80-4D59-94FD-8EEB4B77914B}"/>
          </ac:spMkLst>
        </pc:spChg>
        <pc:spChg chg="add">
          <ac:chgData name="Ajwaliya, Nishit" userId="d6171631-3d08-453d-8afd-2dc62a5026e2" providerId="ADAL" clId="{678AD243-71C4-4A17-8592-AF5CDCD65377}" dt="2021-05-14T12:01:56.248" v="2425"/>
          <ac:spMkLst>
            <pc:docMk/>
            <pc:sldMk cId="1158991494" sldId="2147307470"/>
            <ac:spMk id="174" creationId="{8EE4E324-9232-4D72-B74C-83F47230E87E}"/>
          </ac:spMkLst>
        </pc:spChg>
        <pc:spChg chg="add">
          <ac:chgData name="Ajwaliya, Nishit" userId="d6171631-3d08-453d-8afd-2dc62a5026e2" providerId="ADAL" clId="{678AD243-71C4-4A17-8592-AF5CDCD65377}" dt="2021-05-14T12:01:56.248" v="2425"/>
          <ac:spMkLst>
            <pc:docMk/>
            <pc:sldMk cId="1158991494" sldId="2147307470"/>
            <ac:spMk id="175" creationId="{DAF4DD9B-9804-47C5-94C3-1C445099EC50}"/>
          </ac:spMkLst>
        </pc:spChg>
        <pc:spChg chg="add">
          <ac:chgData name="Ajwaliya, Nishit" userId="d6171631-3d08-453d-8afd-2dc62a5026e2" providerId="ADAL" clId="{678AD243-71C4-4A17-8592-AF5CDCD65377}" dt="2021-05-14T12:01:56.248" v="2425"/>
          <ac:spMkLst>
            <pc:docMk/>
            <pc:sldMk cId="1158991494" sldId="2147307470"/>
            <ac:spMk id="176" creationId="{9930D6C9-C111-453E-BADA-8F0EE8AE76A5}"/>
          </ac:spMkLst>
        </pc:spChg>
        <pc:spChg chg="add del mod">
          <ac:chgData name="Ajwaliya, Nishit" userId="d6171631-3d08-453d-8afd-2dc62a5026e2" providerId="ADAL" clId="{678AD243-71C4-4A17-8592-AF5CDCD65377}" dt="2021-05-14T12:41:31.903" v="3054" actId="478"/>
          <ac:spMkLst>
            <pc:docMk/>
            <pc:sldMk cId="1158991494" sldId="2147307470"/>
            <ac:spMk id="177" creationId="{EF80E3C4-3528-445B-B12C-583782C32AC2}"/>
          </ac:spMkLst>
        </pc:spChg>
        <pc:spChg chg="add del mod">
          <ac:chgData name="Ajwaliya, Nishit" userId="d6171631-3d08-453d-8afd-2dc62a5026e2" providerId="ADAL" clId="{678AD243-71C4-4A17-8592-AF5CDCD65377}" dt="2021-05-14T12:41:31.903" v="3054" actId="478"/>
          <ac:spMkLst>
            <pc:docMk/>
            <pc:sldMk cId="1158991494" sldId="2147307470"/>
            <ac:spMk id="178" creationId="{C2AF5637-6374-46A4-B830-5A7F9DF23752}"/>
          </ac:spMkLst>
        </pc:spChg>
        <pc:spChg chg="add del mod">
          <ac:chgData name="Ajwaliya, Nishit" userId="d6171631-3d08-453d-8afd-2dc62a5026e2" providerId="ADAL" clId="{678AD243-71C4-4A17-8592-AF5CDCD65377}" dt="2021-05-14T12:41:31.903" v="3054" actId="478"/>
          <ac:spMkLst>
            <pc:docMk/>
            <pc:sldMk cId="1158991494" sldId="2147307470"/>
            <ac:spMk id="179" creationId="{9CCC740C-5146-494E-B727-F24582162F9D}"/>
          </ac:spMkLst>
        </pc:spChg>
        <pc:spChg chg="add del mod">
          <ac:chgData name="Ajwaliya, Nishit" userId="d6171631-3d08-453d-8afd-2dc62a5026e2" providerId="ADAL" clId="{678AD243-71C4-4A17-8592-AF5CDCD65377}" dt="2021-05-14T12:41:31.903" v="3054" actId="478"/>
          <ac:spMkLst>
            <pc:docMk/>
            <pc:sldMk cId="1158991494" sldId="2147307470"/>
            <ac:spMk id="180" creationId="{118FC2B1-3115-4BA2-87EB-C0599032AF73}"/>
          </ac:spMkLst>
        </pc:spChg>
        <pc:spChg chg="add mod">
          <ac:chgData name="Ajwaliya, Nishit" userId="d6171631-3d08-453d-8afd-2dc62a5026e2" providerId="ADAL" clId="{678AD243-71C4-4A17-8592-AF5CDCD65377}" dt="2021-05-14T12:50:08.321" v="3417" actId="1035"/>
          <ac:spMkLst>
            <pc:docMk/>
            <pc:sldMk cId="1158991494" sldId="2147307470"/>
            <ac:spMk id="181" creationId="{0978B644-9C4A-436F-8265-DA5551E6A466}"/>
          </ac:spMkLst>
        </pc:spChg>
        <pc:spChg chg="add mod">
          <ac:chgData name="Ajwaliya, Nishit" userId="d6171631-3d08-453d-8afd-2dc62a5026e2" providerId="ADAL" clId="{678AD243-71C4-4A17-8592-AF5CDCD65377}" dt="2021-05-14T12:50:08.321" v="3417" actId="1035"/>
          <ac:spMkLst>
            <pc:docMk/>
            <pc:sldMk cId="1158991494" sldId="2147307470"/>
            <ac:spMk id="182" creationId="{BD2951F8-E86E-427D-B4DD-D29BB3AA6791}"/>
          </ac:spMkLst>
        </pc:spChg>
        <pc:spChg chg="add mod">
          <ac:chgData name="Ajwaliya, Nishit" userId="d6171631-3d08-453d-8afd-2dc62a5026e2" providerId="ADAL" clId="{678AD243-71C4-4A17-8592-AF5CDCD65377}" dt="2021-05-14T12:50:08.321" v="3417" actId="1035"/>
          <ac:spMkLst>
            <pc:docMk/>
            <pc:sldMk cId="1158991494" sldId="2147307470"/>
            <ac:spMk id="183" creationId="{1D92D2D8-C99D-48CF-9EA9-2871E38DD322}"/>
          </ac:spMkLst>
        </pc:spChg>
        <pc:spChg chg="add mod">
          <ac:chgData name="Ajwaliya, Nishit" userId="d6171631-3d08-453d-8afd-2dc62a5026e2" providerId="ADAL" clId="{678AD243-71C4-4A17-8592-AF5CDCD65377}" dt="2021-06-29T21:39:51.900" v="10314" actId="1038"/>
          <ac:spMkLst>
            <pc:docMk/>
            <pc:sldMk cId="1158991494" sldId="2147307470"/>
            <ac:spMk id="184" creationId="{67398158-DBE7-49EC-82D8-995C93EC2665}"/>
          </ac:spMkLst>
        </pc:spChg>
        <pc:spChg chg="add mod">
          <ac:chgData name="Ajwaliya, Nishit" userId="d6171631-3d08-453d-8afd-2dc62a5026e2" providerId="ADAL" clId="{678AD243-71C4-4A17-8592-AF5CDCD65377}" dt="2021-05-14T12:43:12.040" v="3221" actId="1038"/>
          <ac:spMkLst>
            <pc:docMk/>
            <pc:sldMk cId="1158991494" sldId="2147307470"/>
            <ac:spMk id="185" creationId="{A5B01D8D-74D1-41B9-949D-F6BDD9308BE6}"/>
          </ac:spMkLst>
        </pc:spChg>
        <pc:spChg chg="add mod">
          <ac:chgData name="Ajwaliya, Nishit" userId="d6171631-3d08-453d-8afd-2dc62a5026e2" providerId="ADAL" clId="{678AD243-71C4-4A17-8592-AF5CDCD65377}" dt="2021-05-14T12:44:04.676" v="3274" actId="1036"/>
          <ac:spMkLst>
            <pc:docMk/>
            <pc:sldMk cId="1158991494" sldId="2147307470"/>
            <ac:spMk id="186" creationId="{7B99062C-808D-4F46-A510-AF323AA5CDF8}"/>
          </ac:spMkLst>
        </pc:spChg>
        <pc:spChg chg="add mod">
          <ac:chgData name="Ajwaliya, Nishit" userId="d6171631-3d08-453d-8afd-2dc62a5026e2" providerId="ADAL" clId="{678AD243-71C4-4A17-8592-AF5CDCD65377}" dt="2021-05-14T12:42:49.043" v="3161" actId="1035"/>
          <ac:spMkLst>
            <pc:docMk/>
            <pc:sldMk cId="1158991494" sldId="2147307470"/>
            <ac:spMk id="187" creationId="{29366B99-44B2-4DC1-A052-1ACC7DD72118}"/>
          </ac:spMkLst>
        </pc:spChg>
        <pc:spChg chg="add del mod">
          <ac:chgData name="Ajwaliya, Nishit" userId="d6171631-3d08-453d-8afd-2dc62a5026e2" providerId="ADAL" clId="{678AD243-71C4-4A17-8592-AF5CDCD65377}" dt="2021-05-14T12:44:18.280" v="3275" actId="478"/>
          <ac:spMkLst>
            <pc:docMk/>
            <pc:sldMk cId="1158991494" sldId="2147307470"/>
            <ac:spMk id="188" creationId="{9FCDA64C-4395-4385-BC12-2EE03CBEAC15}"/>
          </ac:spMkLst>
        </pc:spChg>
        <pc:spChg chg="add mod">
          <ac:chgData name="Ajwaliya, Nishit" userId="d6171631-3d08-453d-8afd-2dc62a5026e2" providerId="ADAL" clId="{678AD243-71C4-4A17-8592-AF5CDCD65377}" dt="2021-05-14T12:50:08.321" v="3417" actId="1035"/>
          <ac:spMkLst>
            <pc:docMk/>
            <pc:sldMk cId="1158991494" sldId="2147307470"/>
            <ac:spMk id="189" creationId="{96D7A2E9-AEA5-4C09-BEA7-0E4B8AD7C68F}"/>
          </ac:spMkLst>
        </pc:spChg>
        <pc:spChg chg="add del">
          <ac:chgData name="Ajwaliya, Nishit" userId="d6171631-3d08-453d-8afd-2dc62a5026e2" providerId="ADAL" clId="{678AD243-71C4-4A17-8592-AF5CDCD65377}" dt="2021-05-14T12:45:50.809" v="3281"/>
          <ac:spMkLst>
            <pc:docMk/>
            <pc:sldMk cId="1158991494" sldId="2147307470"/>
            <ac:spMk id="190" creationId="{DA26570A-8FF9-4CD4-A342-70318E798278}"/>
          </ac:spMkLst>
        </pc:spChg>
        <pc:spChg chg="add del">
          <ac:chgData name="Ajwaliya, Nishit" userId="d6171631-3d08-453d-8afd-2dc62a5026e2" providerId="ADAL" clId="{678AD243-71C4-4A17-8592-AF5CDCD65377}" dt="2021-05-14T12:45:50.809" v="3281"/>
          <ac:spMkLst>
            <pc:docMk/>
            <pc:sldMk cId="1158991494" sldId="2147307470"/>
            <ac:spMk id="191" creationId="{12E90A76-BA7B-4FFC-ADAF-C40AF54D2265}"/>
          </ac:spMkLst>
        </pc:spChg>
        <pc:spChg chg="add mod">
          <ac:chgData name="Ajwaliya, Nishit" userId="d6171631-3d08-453d-8afd-2dc62a5026e2" providerId="ADAL" clId="{678AD243-71C4-4A17-8592-AF5CDCD65377}" dt="2021-05-14T12:50:08.321" v="3417" actId="1035"/>
          <ac:spMkLst>
            <pc:docMk/>
            <pc:sldMk cId="1158991494" sldId="2147307470"/>
            <ac:spMk id="192" creationId="{9F42A849-644F-4637-8ACC-273E9B490882}"/>
          </ac:spMkLst>
        </pc:spChg>
        <pc:spChg chg="add mod">
          <ac:chgData name="Ajwaliya, Nishit" userId="d6171631-3d08-453d-8afd-2dc62a5026e2" providerId="ADAL" clId="{678AD243-71C4-4A17-8592-AF5CDCD65377}" dt="2021-05-14T12:50:08.321" v="3417" actId="1035"/>
          <ac:spMkLst>
            <pc:docMk/>
            <pc:sldMk cId="1158991494" sldId="2147307470"/>
            <ac:spMk id="193" creationId="{F9B607BF-7F7F-459D-982E-9DFD40920242}"/>
          </ac:spMkLst>
        </pc:spChg>
        <pc:cxnChg chg="mod">
          <ac:chgData name="Ajwaliya, Nishit" userId="d6171631-3d08-453d-8afd-2dc62a5026e2" providerId="ADAL" clId="{678AD243-71C4-4A17-8592-AF5CDCD65377}" dt="2021-05-14T12:50:08.321" v="3417" actId="1035"/>
          <ac:cxnSpMkLst>
            <pc:docMk/>
            <pc:sldMk cId="1158991494" sldId="2147307470"/>
            <ac:cxnSpMk id="5" creationId="{647B011B-7ADE-4400-839C-981A0590474B}"/>
          </ac:cxnSpMkLst>
        </pc:cxnChg>
        <pc:cxnChg chg="mod">
          <ac:chgData name="Ajwaliya, Nishit" userId="d6171631-3d08-453d-8afd-2dc62a5026e2" providerId="ADAL" clId="{678AD243-71C4-4A17-8592-AF5CDCD65377}" dt="2021-05-14T12:36:33.815" v="2833" actId="1038"/>
          <ac:cxnSpMkLst>
            <pc:docMk/>
            <pc:sldMk cId="1158991494" sldId="2147307470"/>
            <ac:cxnSpMk id="122" creationId="{F961ADB8-2408-4630-9023-115E0C7AD7C2}"/>
          </ac:cxnSpMkLst>
        </pc:cxnChg>
        <pc:cxnChg chg="mod">
          <ac:chgData name="Ajwaliya, Nishit" userId="d6171631-3d08-453d-8afd-2dc62a5026e2" providerId="ADAL" clId="{678AD243-71C4-4A17-8592-AF5CDCD65377}" dt="2021-05-14T12:36:33.815" v="2833" actId="1038"/>
          <ac:cxnSpMkLst>
            <pc:docMk/>
            <pc:sldMk cId="1158991494" sldId="2147307470"/>
            <ac:cxnSpMk id="127" creationId="{988282A2-0907-4B4B-9004-B461B0D19AEE}"/>
          </ac:cxnSpMkLst>
        </pc:cxnChg>
        <pc:cxnChg chg="mod">
          <ac:chgData name="Ajwaliya, Nishit" userId="d6171631-3d08-453d-8afd-2dc62a5026e2" providerId="ADAL" clId="{678AD243-71C4-4A17-8592-AF5CDCD65377}" dt="2021-05-14T12:48:16.996" v="3389" actId="14100"/>
          <ac:cxnSpMkLst>
            <pc:docMk/>
            <pc:sldMk cId="1158991494" sldId="2147307470"/>
            <ac:cxnSpMk id="156" creationId="{5327B462-9DB9-4E6D-9EDE-C6C6A13943A7}"/>
          </ac:cxnSpMkLst>
        </pc:cxnChg>
      </pc:sldChg>
      <pc:sldChg chg="modSp add">
        <pc:chgData name="Ajwaliya, Nishit" userId="d6171631-3d08-453d-8afd-2dc62a5026e2" providerId="ADAL" clId="{678AD243-71C4-4A17-8592-AF5CDCD65377}" dt="2021-05-01T14:13:25.774" v="1718" actId="1076"/>
        <pc:sldMkLst>
          <pc:docMk/>
          <pc:sldMk cId="3767634103" sldId="2147307472"/>
        </pc:sldMkLst>
        <pc:spChg chg="mod">
          <ac:chgData name="Ajwaliya, Nishit" userId="d6171631-3d08-453d-8afd-2dc62a5026e2" providerId="ADAL" clId="{678AD243-71C4-4A17-8592-AF5CDCD65377}" dt="2021-05-01T14:13:08.948" v="1717" actId="6549"/>
          <ac:spMkLst>
            <pc:docMk/>
            <pc:sldMk cId="3767634103" sldId="2147307472"/>
            <ac:spMk id="4" creationId="{1747B4A7-E17D-45FE-B7D1-4C995A3D72AF}"/>
          </ac:spMkLst>
        </pc:spChg>
        <pc:picChg chg="mod">
          <ac:chgData name="Ajwaliya, Nishit" userId="d6171631-3d08-453d-8afd-2dc62a5026e2" providerId="ADAL" clId="{678AD243-71C4-4A17-8592-AF5CDCD65377}" dt="2021-05-01T14:13:25.774" v="1718" actId="1076"/>
          <ac:picMkLst>
            <pc:docMk/>
            <pc:sldMk cId="3767634103" sldId="2147307472"/>
            <ac:picMk id="5" creationId="{1FF36BFF-44F3-43D5-9FE3-1E01012E050B}"/>
          </ac:picMkLst>
        </pc:picChg>
      </pc:sldChg>
      <pc:sldChg chg="add ord">
        <pc:chgData name="Ajwaliya, Nishit" userId="d6171631-3d08-453d-8afd-2dc62a5026e2" providerId="ADAL" clId="{678AD243-71C4-4A17-8592-AF5CDCD65377}" dt="2021-06-07T22:15:16.879" v="9856"/>
        <pc:sldMkLst>
          <pc:docMk/>
          <pc:sldMk cId="1553550415" sldId="2147307481"/>
        </pc:sldMkLst>
      </pc:sldChg>
      <pc:sldChg chg="addSp delSp modSp add">
        <pc:chgData name="Ajwaliya, Nishit" userId="d6171631-3d08-453d-8afd-2dc62a5026e2" providerId="ADAL" clId="{678AD243-71C4-4A17-8592-AF5CDCD65377}" dt="2021-06-14T19:22:17.178" v="9905"/>
        <pc:sldMkLst>
          <pc:docMk/>
          <pc:sldMk cId="3299959604" sldId="2147307484"/>
        </pc:sldMkLst>
        <pc:spChg chg="mod">
          <ac:chgData name="Ajwaliya, Nishit" userId="d6171631-3d08-453d-8afd-2dc62a5026e2" providerId="ADAL" clId="{678AD243-71C4-4A17-8592-AF5CDCD65377}" dt="2021-05-14T13:07:02.714" v="4119" actId="255"/>
          <ac:spMkLst>
            <pc:docMk/>
            <pc:sldMk cId="3299959604" sldId="2147307484"/>
            <ac:spMk id="2" creationId="{65606505-0DE3-4026-B55A-3FA303F48ACA}"/>
          </ac:spMkLst>
        </pc:spChg>
        <pc:spChg chg="mod">
          <ac:chgData name="Ajwaliya, Nishit" userId="d6171631-3d08-453d-8afd-2dc62a5026e2" providerId="ADAL" clId="{678AD243-71C4-4A17-8592-AF5CDCD65377}" dt="2021-05-14T11:53:49.874" v="2213" actId="1037"/>
          <ac:spMkLst>
            <pc:docMk/>
            <pc:sldMk cId="3299959604" sldId="2147307484"/>
            <ac:spMk id="3" creationId="{E705DD29-DEEB-40F2-955C-8E9F8269A2E5}"/>
          </ac:spMkLst>
        </pc:spChg>
        <pc:spChg chg="mod">
          <ac:chgData name="Ajwaliya, Nishit" userId="d6171631-3d08-453d-8afd-2dc62a5026e2" providerId="ADAL" clId="{678AD243-71C4-4A17-8592-AF5CDCD65377}" dt="2021-06-14T18:30:06.605" v="9858" actId="20577"/>
          <ac:spMkLst>
            <pc:docMk/>
            <pc:sldMk cId="3299959604" sldId="2147307484"/>
            <ac:spMk id="9" creationId="{63CBB09D-EE89-48CC-A59F-A838F6A6E4AB}"/>
          </ac:spMkLst>
        </pc:spChg>
        <pc:spChg chg="mod">
          <ac:chgData name="Ajwaliya, Nishit" userId="d6171631-3d08-453d-8afd-2dc62a5026e2" providerId="ADAL" clId="{678AD243-71C4-4A17-8592-AF5CDCD65377}" dt="2021-05-14T11:52:20.453" v="2123" actId="1038"/>
          <ac:spMkLst>
            <pc:docMk/>
            <pc:sldMk cId="3299959604" sldId="2147307484"/>
            <ac:spMk id="67" creationId="{13AF4990-BEC8-4F76-90A9-21EF7C67AE3B}"/>
          </ac:spMkLst>
        </pc:spChg>
        <pc:spChg chg="mod">
          <ac:chgData name="Ajwaliya, Nishit" userId="d6171631-3d08-453d-8afd-2dc62a5026e2" providerId="ADAL" clId="{678AD243-71C4-4A17-8592-AF5CDCD65377}" dt="2021-05-14T11:53:49.874" v="2213" actId="1037"/>
          <ac:spMkLst>
            <pc:docMk/>
            <pc:sldMk cId="3299959604" sldId="2147307484"/>
            <ac:spMk id="76" creationId="{9A520CC5-FA03-4165-9311-61DCAD63AA0D}"/>
          </ac:spMkLst>
        </pc:spChg>
        <pc:spChg chg="mod">
          <ac:chgData name="Ajwaliya, Nishit" userId="d6171631-3d08-453d-8afd-2dc62a5026e2" providerId="ADAL" clId="{678AD243-71C4-4A17-8592-AF5CDCD65377}" dt="2021-05-14T11:53:49.874" v="2213" actId="1037"/>
          <ac:spMkLst>
            <pc:docMk/>
            <pc:sldMk cId="3299959604" sldId="2147307484"/>
            <ac:spMk id="97" creationId="{6E524798-4223-4344-86DC-003903A21CC8}"/>
          </ac:spMkLst>
        </pc:spChg>
        <pc:spChg chg="del mod">
          <ac:chgData name="Ajwaliya, Nishit" userId="d6171631-3d08-453d-8afd-2dc62a5026e2" providerId="ADAL" clId="{678AD243-71C4-4A17-8592-AF5CDCD65377}" dt="2021-06-14T19:22:16.608" v="9904" actId="478"/>
          <ac:spMkLst>
            <pc:docMk/>
            <pc:sldMk cId="3299959604" sldId="2147307484"/>
            <ac:spMk id="99" creationId="{A505583B-D85D-436F-999A-765C74864B85}"/>
          </ac:spMkLst>
        </pc:spChg>
        <pc:spChg chg="add">
          <ac:chgData name="Ajwaliya, Nishit" userId="d6171631-3d08-453d-8afd-2dc62a5026e2" providerId="ADAL" clId="{678AD243-71C4-4A17-8592-AF5CDCD65377}" dt="2021-06-14T19:22:17.178" v="9905"/>
          <ac:spMkLst>
            <pc:docMk/>
            <pc:sldMk cId="3299959604" sldId="2147307484"/>
            <ac:spMk id="101" creationId="{587B269A-1741-4A0F-9FDE-AC1CD854208F}"/>
          </ac:spMkLst>
        </pc:spChg>
        <pc:spChg chg="add">
          <ac:chgData name="Ajwaliya, Nishit" userId="d6171631-3d08-453d-8afd-2dc62a5026e2" providerId="ADAL" clId="{678AD243-71C4-4A17-8592-AF5CDCD65377}" dt="2021-06-14T19:22:17.178" v="9905"/>
          <ac:spMkLst>
            <pc:docMk/>
            <pc:sldMk cId="3299959604" sldId="2147307484"/>
            <ac:spMk id="102" creationId="{53D3A239-1B6F-4F39-832E-4F711AD7B2DE}"/>
          </ac:spMkLst>
        </pc:spChg>
        <pc:spChg chg="mod">
          <ac:chgData name="Ajwaliya, Nishit" userId="d6171631-3d08-453d-8afd-2dc62a5026e2" providerId="ADAL" clId="{678AD243-71C4-4A17-8592-AF5CDCD65377}" dt="2021-06-14T18:30:23.251" v="9881" actId="1037"/>
          <ac:spMkLst>
            <pc:docMk/>
            <pc:sldMk cId="3299959604" sldId="2147307484"/>
            <ac:spMk id="103" creationId="{9E79760A-8C07-46FB-A2AB-5C7E24D6A648}"/>
          </ac:spMkLst>
        </pc:spChg>
        <pc:spChg chg="mod">
          <ac:chgData name="Ajwaliya, Nishit" userId="d6171631-3d08-453d-8afd-2dc62a5026e2" providerId="ADAL" clId="{678AD243-71C4-4A17-8592-AF5CDCD65377}" dt="2021-06-14T18:30:23.251" v="9881" actId="1037"/>
          <ac:spMkLst>
            <pc:docMk/>
            <pc:sldMk cId="3299959604" sldId="2147307484"/>
            <ac:spMk id="104" creationId="{705A9A38-02C7-4EB3-B963-C23BA41B0057}"/>
          </ac:spMkLst>
        </pc:spChg>
        <pc:spChg chg="mod">
          <ac:chgData name="Ajwaliya, Nishit" userId="d6171631-3d08-453d-8afd-2dc62a5026e2" providerId="ADAL" clId="{678AD243-71C4-4A17-8592-AF5CDCD65377}" dt="2021-05-14T11:53:49.874" v="2213" actId="1037"/>
          <ac:spMkLst>
            <pc:docMk/>
            <pc:sldMk cId="3299959604" sldId="2147307484"/>
            <ac:spMk id="105" creationId="{B4573916-DB99-4B23-AC58-52569CC342AA}"/>
          </ac:spMkLst>
        </pc:spChg>
        <pc:spChg chg="del mod">
          <ac:chgData name="Ajwaliya, Nishit" userId="d6171631-3d08-453d-8afd-2dc62a5026e2" providerId="ADAL" clId="{678AD243-71C4-4A17-8592-AF5CDCD65377}" dt="2021-06-14T19:22:16.608" v="9904" actId="478"/>
          <ac:spMkLst>
            <pc:docMk/>
            <pc:sldMk cId="3299959604" sldId="2147307484"/>
            <ac:spMk id="106" creationId="{6F71CB73-EAE8-4326-9E84-00E5ACA661CB}"/>
          </ac:spMkLst>
        </pc:spChg>
        <pc:spChg chg="add">
          <ac:chgData name="Ajwaliya, Nishit" userId="d6171631-3d08-453d-8afd-2dc62a5026e2" providerId="ADAL" clId="{678AD243-71C4-4A17-8592-AF5CDCD65377}" dt="2021-06-14T19:22:17.178" v="9905"/>
          <ac:spMkLst>
            <pc:docMk/>
            <pc:sldMk cId="3299959604" sldId="2147307484"/>
            <ac:spMk id="108" creationId="{07FB3EA8-A80D-4FA3-92E8-FF6E97646D8E}"/>
          </ac:spMkLst>
        </pc:spChg>
        <pc:spChg chg="add">
          <ac:chgData name="Ajwaliya, Nishit" userId="d6171631-3d08-453d-8afd-2dc62a5026e2" providerId="ADAL" clId="{678AD243-71C4-4A17-8592-AF5CDCD65377}" dt="2021-06-14T19:22:17.178" v="9905"/>
          <ac:spMkLst>
            <pc:docMk/>
            <pc:sldMk cId="3299959604" sldId="2147307484"/>
            <ac:spMk id="109" creationId="{58A5E0AF-AF8D-49C2-A190-BD3E384D995C}"/>
          </ac:spMkLst>
        </pc:spChg>
        <pc:spChg chg="mod">
          <ac:chgData name="Ajwaliya, Nishit" userId="d6171631-3d08-453d-8afd-2dc62a5026e2" providerId="ADAL" clId="{678AD243-71C4-4A17-8592-AF5CDCD65377}" dt="2021-05-14T11:52:20.453" v="2123" actId="1038"/>
          <ac:spMkLst>
            <pc:docMk/>
            <pc:sldMk cId="3299959604" sldId="2147307484"/>
            <ac:spMk id="119" creationId="{667A639C-B9C3-4DD1-ABE8-08EA94BC3D84}"/>
          </ac:spMkLst>
        </pc:spChg>
        <pc:spChg chg="mod">
          <ac:chgData name="Ajwaliya, Nishit" userId="d6171631-3d08-453d-8afd-2dc62a5026e2" providerId="ADAL" clId="{678AD243-71C4-4A17-8592-AF5CDCD65377}" dt="2021-05-14T11:52:20.453" v="2123" actId="1038"/>
          <ac:spMkLst>
            <pc:docMk/>
            <pc:sldMk cId="3299959604" sldId="2147307484"/>
            <ac:spMk id="121" creationId="{378FE9D9-C8AA-4E60-9C0C-66590B1E21BF}"/>
          </ac:spMkLst>
        </pc:spChg>
        <pc:spChg chg="mod">
          <ac:chgData name="Ajwaliya, Nishit" userId="d6171631-3d08-453d-8afd-2dc62a5026e2" providerId="ADAL" clId="{678AD243-71C4-4A17-8592-AF5CDCD65377}" dt="2021-05-14T11:53:49.874" v="2213" actId="1037"/>
          <ac:spMkLst>
            <pc:docMk/>
            <pc:sldMk cId="3299959604" sldId="2147307484"/>
            <ac:spMk id="124" creationId="{0F8BAFA5-C39E-4D40-BEAB-6ECE84C10D74}"/>
          </ac:spMkLst>
        </pc:spChg>
        <pc:spChg chg="mod">
          <ac:chgData name="Ajwaliya, Nishit" userId="d6171631-3d08-453d-8afd-2dc62a5026e2" providerId="ADAL" clId="{678AD243-71C4-4A17-8592-AF5CDCD65377}" dt="2021-05-14T11:53:49.874" v="2213" actId="1037"/>
          <ac:spMkLst>
            <pc:docMk/>
            <pc:sldMk cId="3299959604" sldId="2147307484"/>
            <ac:spMk id="125" creationId="{1C748C3D-94DF-43FE-96B3-A700756508CE}"/>
          </ac:spMkLst>
        </pc:spChg>
        <pc:spChg chg="mod">
          <ac:chgData name="Ajwaliya, Nishit" userId="d6171631-3d08-453d-8afd-2dc62a5026e2" providerId="ADAL" clId="{678AD243-71C4-4A17-8592-AF5CDCD65377}" dt="2021-05-14T11:53:49.874" v="2213" actId="1037"/>
          <ac:spMkLst>
            <pc:docMk/>
            <pc:sldMk cId="3299959604" sldId="2147307484"/>
            <ac:spMk id="126" creationId="{F24ED024-8BEE-474D-A1C7-731AE9E7D118}"/>
          </ac:spMkLst>
        </pc:spChg>
        <pc:spChg chg="mod">
          <ac:chgData name="Ajwaliya, Nishit" userId="d6171631-3d08-453d-8afd-2dc62a5026e2" providerId="ADAL" clId="{678AD243-71C4-4A17-8592-AF5CDCD65377}" dt="2021-05-14T11:53:49.874" v="2213" actId="1037"/>
          <ac:spMkLst>
            <pc:docMk/>
            <pc:sldMk cId="3299959604" sldId="2147307484"/>
            <ac:spMk id="128" creationId="{42E3C3F5-1547-421C-A2A3-071D520F9AA3}"/>
          </ac:spMkLst>
        </pc:spChg>
        <pc:spChg chg="mod">
          <ac:chgData name="Ajwaliya, Nishit" userId="d6171631-3d08-453d-8afd-2dc62a5026e2" providerId="ADAL" clId="{678AD243-71C4-4A17-8592-AF5CDCD65377}" dt="2021-05-14T11:53:49.874" v="2213" actId="1037"/>
          <ac:spMkLst>
            <pc:docMk/>
            <pc:sldMk cId="3299959604" sldId="2147307484"/>
            <ac:spMk id="130" creationId="{28D44024-805C-42A3-A536-7F7CD8072048}"/>
          </ac:spMkLst>
        </pc:spChg>
        <pc:spChg chg="mod">
          <ac:chgData name="Ajwaliya, Nishit" userId="d6171631-3d08-453d-8afd-2dc62a5026e2" providerId="ADAL" clId="{678AD243-71C4-4A17-8592-AF5CDCD65377}" dt="2021-05-14T11:53:49.874" v="2213" actId="1037"/>
          <ac:spMkLst>
            <pc:docMk/>
            <pc:sldMk cId="3299959604" sldId="2147307484"/>
            <ac:spMk id="134" creationId="{DDC0F982-804C-4C13-B6CF-886890383620}"/>
          </ac:spMkLst>
        </pc:spChg>
        <pc:spChg chg="mod">
          <ac:chgData name="Ajwaliya, Nishit" userId="d6171631-3d08-453d-8afd-2dc62a5026e2" providerId="ADAL" clId="{678AD243-71C4-4A17-8592-AF5CDCD65377}" dt="2021-05-14T11:52:20.453" v="2123" actId="1038"/>
          <ac:spMkLst>
            <pc:docMk/>
            <pc:sldMk cId="3299959604" sldId="2147307484"/>
            <ac:spMk id="135" creationId="{29EF487B-6194-4129-AC46-A7DEFC1BC40B}"/>
          </ac:spMkLst>
        </pc:spChg>
        <pc:spChg chg="mod">
          <ac:chgData name="Ajwaliya, Nishit" userId="d6171631-3d08-453d-8afd-2dc62a5026e2" providerId="ADAL" clId="{678AD243-71C4-4A17-8592-AF5CDCD65377}" dt="2021-05-14T11:52:20.453" v="2123" actId="1038"/>
          <ac:spMkLst>
            <pc:docMk/>
            <pc:sldMk cId="3299959604" sldId="2147307484"/>
            <ac:spMk id="139" creationId="{B63DC23E-751D-488B-90E7-2F7AB4022685}"/>
          </ac:spMkLst>
        </pc:spChg>
        <pc:spChg chg="mod">
          <ac:chgData name="Ajwaliya, Nishit" userId="d6171631-3d08-453d-8afd-2dc62a5026e2" providerId="ADAL" clId="{678AD243-71C4-4A17-8592-AF5CDCD65377}" dt="2021-05-14T11:52:20.453" v="2123" actId="1038"/>
          <ac:spMkLst>
            <pc:docMk/>
            <pc:sldMk cId="3299959604" sldId="2147307484"/>
            <ac:spMk id="140" creationId="{3FCD83B7-1EFF-4CD9-A187-C738E53A836A}"/>
          </ac:spMkLst>
        </pc:spChg>
        <pc:spChg chg="mod">
          <ac:chgData name="Ajwaliya, Nishit" userId="d6171631-3d08-453d-8afd-2dc62a5026e2" providerId="ADAL" clId="{678AD243-71C4-4A17-8592-AF5CDCD65377}" dt="2021-05-14T11:52:20.453" v="2123" actId="1038"/>
          <ac:spMkLst>
            <pc:docMk/>
            <pc:sldMk cId="3299959604" sldId="2147307484"/>
            <ac:spMk id="141" creationId="{24BC9807-652F-4E51-9BD1-4BC56411F2C3}"/>
          </ac:spMkLst>
        </pc:spChg>
        <pc:spChg chg="mod">
          <ac:chgData name="Ajwaliya, Nishit" userId="d6171631-3d08-453d-8afd-2dc62a5026e2" providerId="ADAL" clId="{678AD243-71C4-4A17-8592-AF5CDCD65377}" dt="2021-05-14T11:53:49.874" v="2213" actId="1037"/>
          <ac:spMkLst>
            <pc:docMk/>
            <pc:sldMk cId="3299959604" sldId="2147307484"/>
            <ac:spMk id="144" creationId="{D9F430B6-AA12-4E55-BD8E-7F722DCC89EC}"/>
          </ac:spMkLst>
        </pc:spChg>
        <pc:spChg chg="mod">
          <ac:chgData name="Ajwaliya, Nishit" userId="d6171631-3d08-453d-8afd-2dc62a5026e2" providerId="ADAL" clId="{678AD243-71C4-4A17-8592-AF5CDCD65377}" dt="2021-06-14T18:30:44.541" v="9903" actId="1038"/>
          <ac:spMkLst>
            <pc:docMk/>
            <pc:sldMk cId="3299959604" sldId="2147307484"/>
            <ac:spMk id="151" creationId="{3A4AC253-3FE1-4C73-ABAA-E3F0D079DB2B}"/>
          </ac:spMkLst>
        </pc:spChg>
        <pc:spChg chg="mod">
          <ac:chgData name="Ajwaliya, Nishit" userId="d6171631-3d08-453d-8afd-2dc62a5026e2" providerId="ADAL" clId="{678AD243-71C4-4A17-8592-AF5CDCD65377}" dt="2021-05-14T11:52:20.453" v="2123" actId="1038"/>
          <ac:spMkLst>
            <pc:docMk/>
            <pc:sldMk cId="3299959604" sldId="2147307484"/>
            <ac:spMk id="152" creationId="{B8132A58-8625-46BA-B378-908981D63D9E}"/>
          </ac:spMkLst>
        </pc:spChg>
        <pc:spChg chg="mod">
          <ac:chgData name="Ajwaliya, Nishit" userId="d6171631-3d08-453d-8afd-2dc62a5026e2" providerId="ADAL" clId="{678AD243-71C4-4A17-8592-AF5CDCD65377}" dt="2021-05-14T11:52:20.453" v="2123" actId="1038"/>
          <ac:spMkLst>
            <pc:docMk/>
            <pc:sldMk cId="3299959604" sldId="2147307484"/>
            <ac:spMk id="153" creationId="{D48604F7-129F-4FAE-90D3-437401E3ECDC}"/>
          </ac:spMkLst>
        </pc:spChg>
        <pc:spChg chg="mod">
          <ac:chgData name="Ajwaliya, Nishit" userId="d6171631-3d08-453d-8afd-2dc62a5026e2" providerId="ADAL" clId="{678AD243-71C4-4A17-8592-AF5CDCD65377}" dt="2021-05-14T11:52:20.453" v="2123" actId="1038"/>
          <ac:spMkLst>
            <pc:docMk/>
            <pc:sldMk cId="3299959604" sldId="2147307484"/>
            <ac:spMk id="154" creationId="{907276B4-0603-4BF9-9900-1A6B72799A92}"/>
          </ac:spMkLst>
        </pc:spChg>
        <pc:spChg chg="mod">
          <ac:chgData name="Ajwaliya, Nishit" userId="d6171631-3d08-453d-8afd-2dc62a5026e2" providerId="ADAL" clId="{678AD243-71C4-4A17-8592-AF5CDCD65377}" dt="2021-05-14T11:53:49.874" v="2213" actId="1037"/>
          <ac:spMkLst>
            <pc:docMk/>
            <pc:sldMk cId="3299959604" sldId="2147307484"/>
            <ac:spMk id="155" creationId="{FA445F10-C787-448B-AE7C-7D1BF8D50D56}"/>
          </ac:spMkLst>
        </pc:spChg>
        <pc:spChg chg="mod">
          <ac:chgData name="Ajwaliya, Nishit" userId="d6171631-3d08-453d-8afd-2dc62a5026e2" providerId="ADAL" clId="{678AD243-71C4-4A17-8592-AF5CDCD65377}" dt="2021-05-14T11:53:49.874" v="2213" actId="1037"/>
          <ac:spMkLst>
            <pc:docMk/>
            <pc:sldMk cId="3299959604" sldId="2147307484"/>
            <ac:spMk id="163" creationId="{BDD54725-3AE1-481F-A3CE-8E571CD871EC}"/>
          </ac:spMkLst>
        </pc:spChg>
        <pc:spChg chg="mod">
          <ac:chgData name="Ajwaliya, Nishit" userId="d6171631-3d08-453d-8afd-2dc62a5026e2" providerId="ADAL" clId="{678AD243-71C4-4A17-8592-AF5CDCD65377}" dt="2021-05-14T11:53:49.874" v="2213" actId="1037"/>
          <ac:spMkLst>
            <pc:docMk/>
            <pc:sldMk cId="3299959604" sldId="2147307484"/>
            <ac:spMk id="165" creationId="{55FE46CB-4BAC-43D4-A7E3-73079C9B0A17}"/>
          </ac:spMkLst>
        </pc:spChg>
        <pc:spChg chg="mod">
          <ac:chgData name="Ajwaliya, Nishit" userId="d6171631-3d08-453d-8afd-2dc62a5026e2" providerId="ADAL" clId="{678AD243-71C4-4A17-8592-AF5CDCD65377}" dt="2021-05-14T11:53:49.874" v="2213" actId="1037"/>
          <ac:spMkLst>
            <pc:docMk/>
            <pc:sldMk cId="3299959604" sldId="2147307484"/>
            <ac:spMk id="167" creationId="{87D8CC1F-B56A-4529-87AE-1441B76F21CA}"/>
          </ac:spMkLst>
        </pc:spChg>
        <pc:spChg chg="mod">
          <ac:chgData name="Ajwaliya, Nishit" userId="d6171631-3d08-453d-8afd-2dc62a5026e2" providerId="ADAL" clId="{678AD243-71C4-4A17-8592-AF5CDCD65377}" dt="2021-05-14T11:53:49.874" v="2213" actId="1037"/>
          <ac:spMkLst>
            <pc:docMk/>
            <pc:sldMk cId="3299959604" sldId="2147307484"/>
            <ac:spMk id="169" creationId="{CA387B1C-1433-491C-888E-0EAE240B1442}"/>
          </ac:spMkLst>
        </pc:spChg>
        <pc:spChg chg="mod">
          <ac:chgData name="Ajwaliya, Nishit" userId="d6171631-3d08-453d-8afd-2dc62a5026e2" providerId="ADAL" clId="{678AD243-71C4-4A17-8592-AF5CDCD65377}" dt="2021-05-14T11:53:49.874" v="2213" actId="1037"/>
          <ac:spMkLst>
            <pc:docMk/>
            <pc:sldMk cId="3299959604" sldId="2147307484"/>
            <ac:spMk id="174" creationId="{6E729406-BCD9-431E-8B26-6F97A4C03E00}"/>
          </ac:spMkLst>
        </pc:spChg>
        <pc:spChg chg="mod">
          <ac:chgData name="Ajwaliya, Nishit" userId="d6171631-3d08-453d-8afd-2dc62a5026e2" providerId="ADAL" clId="{678AD243-71C4-4A17-8592-AF5CDCD65377}" dt="2021-05-14T11:53:49.874" v="2213" actId="1037"/>
          <ac:spMkLst>
            <pc:docMk/>
            <pc:sldMk cId="3299959604" sldId="2147307484"/>
            <ac:spMk id="176" creationId="{6FFA297E-BD4C-4984-8DA1-974107E360C0}"/>
          </ac:spMkLst>
        </pc:spChg>
        <pc:spChg chg="mod">
          <ac:chgData name="Ajwaliya, Nishit" userId="d6171631-3d08-453d-8afd-2dc62a5026e2" providerId="ADAL" clId="{678AD243-71C4-4A17-8592-AF5CDCD65377}" dt="2021-05-14T11:53:49.874" v="2213" actId="1037"/>
          <ac:spMkLst>
            <pc:docMk/>
            <pc:sldMk cId="3299959604" sldId="2147307484"/>
            <ac:spMk id="177" creationId="{F87CC682-6CBB-494A-8113-DA1E61FE62C6}"/>
          </ac:spMkLst>
        </pc:spChg>
        <pc:spChg chg="mod">
          <ac:chgData name="Ajwaliya, Nishit" userId="d6171631-3d08-453d-8afd-2dc62a5026e2" providerId="ADAL" clId="{678AD243-71C4-4A17-8592-AF5CDCD65377}" dt="2021-05-14T11:53:49.874" v="2213" actId="1037"/>
          <ac:spMkLst>
            <pc:docMk/>
            <pc:sldMk cId="3299959604" sldId="2147307484"/>
            <ac:spMk id="181" creationId="{553BDFC6-BEB6-45E4-B002-7547682B4B9D}"/>
          </ac:spMkLst>
        </pc:spChg>
        <pc:spChg chg="mod">
          <ac:chgData name="Ajwaliya, Nishit" userId="d6171631-3d08-453d-8afd-2dc62a5026e2" providerId="ADAL" clId="{678AD243-71C4-4A17-8592-AF5CDCD65377}" dt="2021-05-14T11:53:49.874" v="2213" actId="1037"/>
          <ac:spMkLst>
            <pc:docMk/>
            <pc:sldMk cId="3299959604" sldId="2147307484"/>
            <ac:spMk id="188" creationId="{4BE12BDB-E35A-4FA6-9DAC-9E141D05A38F}"/>
          </ac:spMkLst>
        </pc:spChg>
        <pc:spChg chg="mod">
          <ac:chgData name="Ajwaliya, Nishit" userId="d6171631-3d08-453d-8afd-2dc62a5026e2" providerId="ADAL" clId="{678AD243-71C4-4A17-8592-AF5CDCD65377}" dt="2021-05-14T11:53:49.874" v="2213" actId="1037"/>
          <ac:spMkLst>
            <pc:docMk/>
            <pc:sldMk cId="3299959604" sldId="2147307484"/>
            <ac:spMk id="189" creationId="{5D211D3C-73F0-46FA-AD56-2BDECB55C184}"/>
          </ac:spMkLst>
        </pc:spChg>
        <pc:spChg chg="mod">
          <ac:chgData name="Ajwaliya, Nishit" userId="d6171631-3d08-453d-8afd-2dc62a5026e2" providerId="ADAL" clId="{678AD243-71C4-4A17-8592-AF5CDCD65377}" dt="2021-05-14T15:39:16.356" v="5456" actId="14100"/>
          <ac:spMkLst>
            <pc:docMk/>
            <pc:sldMk cId="3299959604" sldId="2147307484"/>
            <ac:spMk id="203" creationId="{01978453-8B00-4A50-85D1-D02BB9CA7E7C}"/>
          </ac:spMkLst>
        </pc:spChg>
        <pc:spChg chg="mod">
          <ac:chgData name="Ajwaliya, Nishit" userId="d6171631-3d08-453d-8afd-2dc62a5026e2" providerId="ADAL" clId="{678AD243-71C4-4A17-8592-AF5CDCD65377}" dt="2021-05-14T11:52:20.453" v="2123" actId="1038"/>
          <ac:spMkLst>
            <pc:docMk/>
            <pc:sldMk cId="3299959604" sldId="2147307484"/>
            <ac:spMk id="204" creationId="{8592C76E-BEAD-4997-B0BA-B05BD6FD9A26}"/>
          </ac:spMkLst>
        </pc:spChg>
        <pc:spChg chg="mod">
          <ac:chgData name="Ajwaliya, Nishit" userId="d6171631-3d08-453d-8afd-2dc62a5026e2" providerId="ADAL" clId="{678AD243-71C4-4A17-8592-AF5CDCD65377}" dt="2021-05-14T11:52:20.453" v="2123" actId="1038"/>
          <ac:spMkLst>
            <pc:docMk/>
            <pc:sldMk cId="3299959604" sldId="2147307484"/>
            <ac:spMk id="205" creationId="{A347D48E-0186-41F2-A71B-686BD3326EE5}"/>
          </ac:spMkLst>
        </pc:spChg>
        <pc:spChg chg="mod">
          <ac:chgData name="Ajwaliya, Nishit" userId="d6171631-3d08-453d-8afd-2dc62a5026e2" providerId="ADAL" clId="{678AD243-71C4-4A17-8592-AF5CDCD65377}" dt="2021-05-14T11:52:20.453" v="2123" actId="1038"/>
          <ac:spMkLst>
            <pc:docMk/>
            <pc:sldMk cId="3299959604" sldId="2147307484"/>
            <ac:spMk id="206" creationId="{B6C28F17-2225-4512-B301-49439ABFFEF9}"/>
          </ac:spMkLst>
        </pc:spChg>
        <pc:spChg chg="mod">
          <ac:chgData name="Ajwaliya, Nishit" userId="d6171631-3d08-453d-8afd-2dc62a5026e2" providerId="ADAL" clId="{678AD243-71C4-4A17-8592-AF5CDCD65377}" dt="2021-05-14T11:53:49.874" v="2213" actId="1037"/>
          <ac:spMkLst>
            <pc:docMk/>
            <pc:sldMk cId="3299959604" sldId="2147307484"/>
            <ac:spMk id="207" creationId="{D9CD409A-2087-48B4-993A-8965746DAF94}"/>
          </ac:spMkLst>
        </pc:spChg>
        <pc:spChg chg="mod">
          <ac:chgData name="Ajwaliya, Nishit" userId="d6171631-3d08-453d-8afd-2dc62a5026e2" providerId="ADAL" clId="{678AD243-71C4-4A17-8592-AF5CDCD65377}" dt="2021-05-14T11:53:49.874" v="2213" actId="1037"/>
          <ac:spMkLst>
            <pc:docMk/>
            <pc:sldMk cId="3299959604" sldId="2147307484"/>
            <ac:spMk id="211" creationId="{D20D57CD-2D20-43B0-85A7-7E8142C5EE11}"/>
          </ac:spMkLst>
        </pc:spChg>
        <pc:spChg chg="mod">
          <ac:chgData name="Ajwaliya, Nishit" userId="d6171631-3d08-453d-8afd-2dc62a5026e2" providerId="ADAL" clId="{678AD243-71C4-4A17-8592-AF5CDCD65377}" dt="2021-06-14T18:30:44.541" v="9903" actId="1038"/>
          <ac:spMkLst>
            <pc:docMk/>
            <pc:sldMk cId="3299959604" sldId="2147307484"/>
            <ac:spMk id="213" creationId="{2232032A-DFA7-4838-AEC8-875A56E572F3}"/>
          </ac:spMkLst>
        </pc:spChg>
        <pc:spChg chg="mod">
          <ac:chgData name="Ajwaliya, Nishit" userId="d6171631-3d08-453d-8afd-2dc62a5026e2" providerId="ADAL" clId="{678AD243-71C4-4A17-8592-AF5CDCD65377}" dt="2021-05-14T11:53:49.874" v="2213" actId="1037"/>
          <ac:spMkLst>
            <pc:docMk/>
            <pc:sldMk cId="3299959604" sldId="2147307484"/>
            <ac:spMk id="214" creationId="{5E2E6BE7-326E-41CD-85A2-E03A52B74CC8}"/>
          </ac:spMkLst>
        </pc:spChg>
        <pc:spChg chg="mod">
          <ac:chgData name="Ajwaliya, Nishit" userId="d6171631-3d08-453d-8afd-2dc62a5026e2" providerId="ADAL" clId="{678AD243-71C4-4A17-8592-AF5CDCD65377}" dt="2021-05-14T11:53:49.874" v="2213" actId="1037"/>
          <ac:spMkLst>
            <pc:docMk/>
            <pc:sldMk cId="3299959604" sldId="2147307484"/>
            <ac:spMk id="215" creationId="{6733E616-888B-470F-BAEC-AC78C624C992}"/>
          </ac:spMkLst>
        </pc:spChg>
        <pc:spChg chg="mod">
          <ac:chgData name="Ajwaliya, Nishit" userId="d6171631-3d08-453d-8afd-2dc62a5026e2" providerId="ADAL" clId="{678AD243-71C4-4A17-8592-AF5CDCD65377}" dt="2021-05-14T11:53:49.874" v="2213" actId="1037"/>
          <ac:spMkLst>
            <pc:docMk/>
            <pc:sldMk cId="3299959604" sldId="2147307484"/>
            <ac:spMk id="217" creationId="{870F50A0-1175-47E9-92E7-DD46C849A279}"/>
          </ac:spMkLst>
        </pc:spChg>
        <pc:spChg chg="mod">
          <ac:chgData name="Ajwaliya, Nishit" userId="d6171631-3d08-453d-8afd-2dc62a5026e2" providerId="ADAL" clId="{678AD243-71C4-4A17-8592-AF5CDCD65377}" dt="2021-05-14T11:53:49.874" v="2213" actId="1037"/>
          <ac:spMkLst>
            <pc:docMk/>
            <pc:sldMk cId="3299959604" sldId="2147307484"/>
            <ac:spMk id="218" creationId="{D5497791-1749-4298-9ECB-ABE31C240E5C}"/>
          </ac:spMkLst>
        </pc:spChg>
        <pc:spChg chg="mod">
          <ac:chgData name="Ajwaliya, Nishit" userId="d6171631-3d08-453d-8afd-2dc62a5026e2" providerId="ADAL" clId="{678AD243-71C4-4A17-8592-AF5CDCD65377}" dt="2021-05-14T11:53:49.874" v="2213" actId="1037"/>
          <ac:spMkLst>
            <pc:docMk/>
            <pc:sldMk cId="3299959604" sldId="2147307484"/>
            <ac:spMk id="219" creationId="{6ECDE740-6837-4482-A75D-75D5CCCE1BE7}"/>
          </ac:spMkLst>
        </pc:spChg>
        <pc:spChg chg="mod">
          <ac:chgData name="Ajwaliya, Nishit" userId="d6171631-3d08-453d-8afd-2dc62a5026e2" providerId="ADAL" clId="{678AD243-71C4-4A17-8592-AF5CDCD65377}" dt="2021-05-14T11:53:49.874" v="2213" actId="1037"/>
          <ac:spMkLst>
            <pc:docMk/>
            <pc:sldMk cId="3299959604" sldId="2147307484"/>
            <ac:spMk id="220" creationId="{EBF61E9E-C86F-4FCA-9664-C3BD1EAFFF2C}"/>
          </ac:spMkLst>
        </pc:spChg>
        <pc:spChg chg="mod">
          <ac:chgData name="Ajwaliya, Nishit" userId="d6171631-3d08-453d-8afd-2dc62a5026e2" providerId="ADAL" clId="{678AD243-71C4-4A17-8592-AF5CDCD65377}" dt="2021-05-14T11:53:49.874" v="2213" actId="1037"/>
          <ac:spMkLst>
            <pc:docMk/>
            <pc:sldMk cId="3299959604" sldId="2147307484"/>
            <ac:spMk id="221" creationId="{3FEFAC13-FA4E-4722-8636-B0F4DB14B444}"/>
          </ac:spMkLst>
        </pc:spChg>
        <pc:spChg chg="mod">
          <ac:chgData name="Ajwaliya, Nishit" userId="d6171631-3d08-453d-8afd-2dc62a5026e2" providerId="ADAL" clId="{678AD243-71C4-4A17-8592-AF5CDCD65377}" dt="2021-05-14T11:53:49.874" v="2213" actId="1037"/>
          <ac:spMkLst>
            <pc:docMk/>
            <pc:sldMk cId="3299959604" sldId="2147307484"/>
            <ac:spMk id="222" creationId="{36EE1830-4B80-4640-8773-23ACCEC0C97E}"/>
          </ac:spMkLst>
        </pc:spChg>
        <pc:spChg chg="mod">
          <ac:chgData name="Ajwaliya, Nishit" userId="d6171631-3d08-453d-8afd-2dc62a5026e2" providerId="ADAL" clId="{678AD243-71C4-4A17-8592-AF5CDCD65377}" dt="2021-05-14T11:53:49.874" v="2213" actId="1037"/>
          <ac:spMkLst>
            <pc:docMk/>
            <pc:sldMk cId="3299959604" sldId="2147307484"/>
            <ac:spMk id="223" creationId="{D1BA4C75-1521-4DA8-9152-3A8902EEB53D}"/>
          </ac:spMkLst>
        </pc:spChg>
        <pc:spChg chg="mod">
          <ac:chgData name="Ajwaliya, Nishit" userId="d6171631-3d08-453d-8afd-2dc62a5026e2" providerId="ADAL" clId="{678AD243-71C4-4A17-8592-AF5CDCD65377}" dt="2021-05-14T11:53:49.874" v="2213" actId="1037"/>
          <ac:spMkLst>
            <pc:docMk/>
            <pc:sldMk cId="3299959604" sldId="2147307484"/>
            <ac:spMk id="224" creationId="{F68889B6-1E8B-49C4-8457-3D36B7EC7231}"/>
          </ac:spMkLst>
        </pc:spChg>
        <pc:spChg chg="mod">
          <ac:chgData name="Ajwaliya, Nishit" userId="d6171631-3d08-453d-8afd-2dc62a5026e2" providerId="ADAL" clId="{678AD243-71C4-4A17-8592-AF5CDCD65377}" dt="2021-05-14T11:53:49.874" v="2213" actId="1037"/>
          <ac:spMkLst>
            <pc:docMk/>
            <pc:sldMk cId="3299959604" sldId="2147307484"/>
            <ac:spMk id="225" creationId="{09087ACF-D453-4EBC-917B-F62E2471B9D5}"/>
          </ac:spMkLst>
        </pc:spChg>
        <pc:spChg chg="mod">
          <ac:chgData name="Ajwaliya, Nishit" userId="d6171631-3d08-453d-8afd-2dc62a5026e2" providerId="ADAL" clId="{678AD243-71C4-4A17-8592-AF5CDCD65377}" dt="2021-05-14T11:53:49.874" v="2213" actId="1037"/>
          <ac:spMkLst>
            <pc:docMk/>
            <pc:sldMk cId="3299959604" sldId="2147307484"/>
            <ac:spMk id="226" creationId="{09701D7A-AEC3-4A15-9738-081D896783D1}"/>
          </ac:spMkLst>
        </pc:spChg>
        <pc:spChg chg="mod">
          <ac:chgData name="Ajwaliya, Nishit" userId="d6171631-3d08-453d-8afd-2dc62a5026e2" providerId="ADAL" clId="{678AD243-71C4-4A17-8592-AF5CDCD65377}" dt="2021-05-14T11:53:49.874" v="2213" actId="1037"/>
          <ac:spMkLst>
            <pc:docMk/>
            <pc:sldMk cId="3299959604" sldId="2147307484"/>
            <ac:spMk id="227" creationId="{19F29F9B-05DD-4654-B270-BA9844B52123}"/>
          </ac:spMkLst>
        </pc:spChg>
        <pc:spChg chg="mod">
          <ac:chgData name="Ajwaliya, Nishit" userId="d6171631-3d08-453d-8afd-2dc62a5026e2" providerId="ADAL" clId="{678AD243-71C4-4A17-8592-AF5CDCD65377}" dt="2021-05-14T11:53:49.874" v="2213" actId="1037"/>
          <ac:spMkLst>
            <pc:docMk/>
            <pc:sldMk cId="3299959604" sldId="2147307484"/>
            <ac:spMk id="230" creationId="{59218CDC-934C-45B4-81B5-23EADF04DBE4}"/>
          </ac:spMkLst>
        </pc:spChg>
        <pc:spChg chg="mod">
          <ac:chgData name="Ajwaliya, Nishit" userId="d6171631-3d08-453d-8afd-2dc62a5026e2" providerId="ADAL" clId="{678AD243-71C4-4A17-8592-AF5CDCD65377}" dt="2021-05-14T11:53:49.874" v="2213" actId="1037"/>
          <ac:spMkLst>
            <pc:docMk/>
            <pc:sldMk cId="3299959604" sldId="2147307484"/>
            <ac:spMk id="231" creationId="{FF32807F-AF23-4470-B5FD-E1C220319C59}"/>
          </ac:spMkLst>
        </pc:spChg>
        <pc:spChg chg="mod">
          <ac:chgData name="Ajwaliya, Nishit" userId="d6171631-3d08-453d-8afd-2dc62a5026e2" providerId="ADAL" clId="{678AD243-71C4-4A17-8592-AF5CDCD65377}" dt="2021-05-14T11:53:49.874" v="2213" actId="1037"/>
          <ac:spMkLst>
            <pc:docMk/>
            <pc:sldMk cId="3299959604" sldId="2147307484"/>
            <ac:spMk id="233" creationId="{9DC391FA-582E-462D-B80B-562DD6B38DFB}"/>
          </ac:spMkLst>
        </pc:spChg>
        <pc:spChg chg="mod">
          <ac:chgData name="Ajwaliya, Nishit" userId="d6171631-3d08-453d-8afd-2dc62a5026e2" providerId="ADAL" clId="{678AD243-71C4-4A17-8592-AF5CDCD65377}" dt="2021-05-14T11:53:49.874" v="2213" actId="1037"/>
          <ac:spMkLst>
            <pc:docMk/>
            <pc:sldMk cId="3299959604" sldId="2147307484"/>
            <ac:spMk id="234" creationId="{65093B07-58CD-49EE-AC14-71373A166F11}"/>
          </ac:spMkLst>
        </pc:spChg>
        <pc:spChg chg="mod">
          <ac:chgData name="Ajwaliya, Nishit" userId="d6171631-3d08-453d-8afd-2dc62a5026e2" providerId="ADAL" clId="{678AD243-71C4-4A17-8592-AF5CDCD65377}" dt="2021-05-14T11:53:49.874" v="2213" actId="1037"/>
          <ac:spMkLst>
            <pc:docMk/>
            <pc:sldMk cId="3299959604" sldId="2147307484"/>
            <ac:spMk id="235" creationId="{8FC37195-304C-48AF-BC1C-B1497FFCB94E}"/>
          </ac:spMkLst>
        </pc:spChg>
        <pc:spChg chg="mod">
          <ac:chgData name="Ajwaliya, Nishit" userId="d6171631-3d08-453d-8afd-2dc62a5026e2" providerId="ADAL" clId="{678AD243-71C4-4A17-8592-AF5CDCD65377}" dt="2021-05-14T11:53:49.874" v="2213" actId="1037"/>
          <ac:spMkLst>
            <pc:docMk/>
            <pc:sldMk cId="3299959604" sldId="2147307484"/>
            <ac:spMk id="236" creationId="{7894B957-F935-4FE5-B515-B030CE51CF27}"/>
          </ac:spMkLst>
        </pc:spChg>
        <pc:spChg chg="mod">
          <ac:chgData name="Ajwaliya, Nishit" userId="d6171631-3d08-453d-8afd-2dc62a5026e2" providerId="ADAL" clId="{678AD243-71C4-4A17-8592-AF5CDCD65377}" dt="2021-05-14T11:53:49.874" v="2213" actId="1037"/>
          <ac:spMkLst>
            <pc:docMk/>
            <pc:sldMk cId="3299959604" sldId="2147307484"/>
            <ac:spMk id="237" creationId="{1EA67941-3F59-4EAD-8228-FF39264EB893}"/>
          </ac:spMkLst>
        </pc:spChg>
        <pc:spChg chg="mod">
          <ac:chgData name="Ajwaliya, Nishit" userId="d6171631-3d08-453d-8afd-2dc62a5026e2" providerId="ADAL" clId="{678AD243-71C4-4A17-8592-AF5CDCD65377}" dt="2021-05-14T11:53:49.874" v="2213" actId="1037"/>
          <ac:spMkLst>
            <pc:docMk/>
            <pc:sldMk cId="3299959604" sldId="2147307484"/>
            <ac:spMk id="238" creationId="{BB5198DF-7051-4F6D-A5D0-0E9E52DE6BC1}"/>
          </ac:spMkLst>
        </pc:spChg>
        <pc:picChg chg="mod">
          <ac:chgData name="Ajwaliya, Nishit" userId="d6171631-3d08-453d-8afd-2dc62a5026e2" providerId="ADAL" clId="{678AD243-71C4-4A17-8592-AF5CDCD65377}" dt="2021-05-14T11:53:49.874" v="2213" actId="1037"/>
          <ac:picMkLst>
            <pc:docMk/>
            <pc:sldMk cId="3299959604" sldId="2147307484"/>
            <ac:picMk id="162" creationId="{D806E5C4-F5B7-4465-8699-4743B4EDE32C}"/>
          </ac:picMkLst>
        </pc:picChg>
        <pc:picChg chg="mod">
          <ac:chgData name="Ajwaliya, Nishit" userId="d6171631-3d08-453d-8afd-2dc62a5026e2" providerId="ADAL" clId="{678AD243-71C4-4A17-8592-AF5CDCD65377}" dt="2021-05-14T11:53:49.874" v="2213" actId="1037"/>
          <ac:picMkLst>
            <pc:docMk/>
            <pc:sldMk cId="3299959604" sldId="2147307484"/>
            <ac:picMk id="164" creationId="{23DC112B-D90B-4346-8F00-D4444FA6DDFE}"/>
          </ac:picMkLst>
        </pc:picChg>
        <pc:picChg chg="mod">
          <ac:chgData name="Ajwaliya, Nishit" userId="d6171631-3d08-453d-8afd-2dc62a5026e2" providerId="ADAL" clId="{678AD243-71C4-4A17-8592-AF5CDCD65377}" dt="2021-05-14T11:53:49.874" v="2213" actId="1037"/>
          <ac:picMkLst>
            <pc:docMk/>
            <pc:sldMk cId="3299959604" sldId="2147307484"/>
            <ac:picMk id="166" creationId="{ACBC42D8-1DCB-4CA5-A375-F401A599726A}"/>
          </ac:picMkLst>
        </pc:picChg>
        <pc:picChg chg="mod">
          <ac:chgData name="Ajwaliya, Nishit" userId="d6171631-3d08-453d-8afd-2dc62a5026e2" providerId="ADAL" clId="{678AD243-71C4-4A17-8592-AF5CDCD65377}" dt="2021-05-14T11:53:49.874" v="2213" actId="1037"/>
          <ac:picMkLst>
            <pc:docMk/>
            <pc:sldMk cId="3299959604" sldId="2147307484"/>
            <ac:picMk id="168" creationId="{6CD85B61-1744-428F-99BE-BC0E382F68E6}"/>
          </ac:picMkLst>
        </pc:picChg>
        <pc:picChg chg="mod">
          <ac:chgData name="Ajwaliya, Nishit" userId="d6171631-3d08-453d-8afd-2dc62a5026e2" providerId="ADAL" clId="{678AD243-71C4-4A17-8592-AF5CDCD65377}" dt="2021-06-14T18:30:44.541" v="9903" actId="1038"/>
          <ac:picMkLst>
            <pc:docMk/>
            <pc:sldMk cId="3299959604" sldId="2147307484"/>
            <ac:picMk id="212" creationId="{073E04DF-8316-4E39-A58D-09FFE3057DB0}"/>
          </ac:picMkLst>
        </pc:picChg>
        <pc:cxnChg chg="mod">
          <ac:chgData name="Ajwaliya, Nishit" userId="d6171631-3d08-453d-8afd-2dc62a5026e2" providerId="ADAL" clId="{678AD243-71C4-4A17-8592-AF5CDCD65377}" dt="2021-05-14T15:43:52.023" v="5478" actId="1035"/>
          <ac:cxnSpMkLst>
            <pc:docMk/>
            <pc:sldMk cId="3299959604" sldId="2147307484"/>
            <ac:cxnSpMk id="5" creationId="{647B011B-7ADE-4400-839C-981A0590474B}"/>
          </ac:cxnSpMkLst>
        </pc:cxnChg>
        <pc:cxnChg chg="mod">
          <ac:chgData name="Ajwaliya, Nishit" userId="d6171631-3d08-453d-8afd-2dc62a5026e2" providerId="ADAL" clId="{678AD243-71C4-4A17-8592-AF5CDCD65377}" dt="2021-05-14T15:43:05.439" v="5461" actId="1036"/>
          <ac:cxnSpMkLst>
            <pc:docMk/>
            <pc:sldMk cId="3299959604" sldId="2147307484"/>
            <ac:cxnSpMk id="122" creationId="{F961ADB8-2408-4630-9023-115E0C7AD7C2}"/>
          </ac:cxnSpMkLst>
        </pc:cxnChg>
        <pc:cxnChg chg="mod">
          <ac:chgData name="Ajwaliya, Nishit" userId="d6171631-3d08-453d-8afd-2dc62a5026e2" providerId="ADAL" clId="{678AD243-71C4-4A17-8592-AF5CDCD65377}" dt="2021-05-14T15:43:12.455" v="5464" actId="1035"/>
          <ac:cxnSpMkLst>
            <pc:docMk/>
            <pc:sldMk cId="3299959604" sldId="2147307484"/>
            <ac:cxnSpMk id="127" creationId="{988282A2-0907-4B4B-9004-B461B0D19AEE}"/>
          </ac:cxnSpMkLst>
        </pc:cxnChg>
        <pc:cxnChg chg="mod">
          <ac:chgData name="Ajwaliya, Nishit" userId="d6171631-3d08-453d-8afd-2dc62a5026e2" providerId="ADAL" clId="{678AD243-71C4-4A17-8592-AF5CDCD65377}" dt="2021-05-14T11:53:49.874" v="2213" actId="1037"/>
          <ac:cxnSpMkLst>
            <pc:docMk/>
            <pc:sldMk cId="3299959604" sldId="2147307484"/>
            <ac:cxnSpMk id="136" creationId="{F7671822-8FF2-476B-9E10-A02943AAFC20}"/>
          </ac:cxnSpMkLst>
        </pc:cxnChg>
      </pc:sldChg>
      <pc:sldChg chg="addSp delSp modSp add ord">
        <pc:chgData name="Ajwaliya, Nishit" userId="d6171631-3d08-453d-8afd-2dc62a5026e2" providerId="ADAL" clId="{678AD243-71C4-4A17-8592-AF5CDCD65377}" dt="2021-06-29T21:37:38.283" v="10265" actId="1038"/>
        <pc:sldMkLst>
          <pc:docMk/>
          <pc:sldMk cId="3599553689" sldId="2147307485"/>
        </pc:sldMkLst>
        <pc:spChg chg="mod">
          <ac:chgData name="Ajwaliya, Nishit" userId="d6171631-3d08-453d-8afd-2dc62a5026e2" providerId="ADAL" clId="{678AD243-71C4-4A17-8592-AF5CDCD65377}" dt="2021-05-14T17:44:43.109" v="6037" actId="1036"/>
          <ac:spMkLst>
            <pc:docMk/>
            <pc:sldMk cId="3599553689" sldId="2147307485"/>
            <ac:spMk id="24" creationId="{589FEC22-3503-46A6-852D-980452A1AE14}"/>
          </ac:spMkLst>
        </pc:spChg>
        <pc:spChg chg="mod">
          <ac:chgData name="Ajwaliya, Nishit" userId="d6171631-3d08-453d-8afd-2dc62a5026e2" providerId="ADAL" clId="{678AD243-71C4-4A17-8592-AF5CDCD65377}" dt="2021-05-14T17:45:16.080" v="6068" actId="1035"/>
          <ac:spMkLst>
            <pc:docMk/>
            <pc:sldMk cId="3599553689" sldId="2147307485"/>
            <ac:spMk id="25" creationId="{EABE8EC2-416A-418B-8120-B18B31EBDEBF}"/>
          </ac:spMkLst>
        </pc:spChg>
        <pc:spChg chg="mod">
          <ac:chgData name="Ajwaliya, Nishit" userId="d6171631-3d08-453d-8afd-2dc62a5026e2" providerId="ADAL" clId="{678AD243-71C4-4A17-8592-AF5CDCD65377}" dt="2021-05-14T17:44:43.109" v="6037" actId="1036"/>
          <ac:spMkLst>
            <pc:docMk/>
            <pc:sldMk cId="3599553689" sldId="2147307485"/>
            <ac:spMk id="27" creationId="{10DC6CD8-91E3-4B53-9BD0-EB711AC08B2F}"/>
          </ac:spMkLst>
        </pc:spChg>
        <pc:spChg chg="mod">
          <ac:chgData name="Ajwaliya, Nishit" userId="d6171631-3d08-453d-8afd-2dc62a5026e2" providerId="ADAL" clId="{678AD243-71C4-4A17-8592-AF5CDCD65377}" dt="2021-05-14T17:45:16.080" v="6068" actId="1035"/>
          <ac:spMkLst>
            <pc:docMk/>
            <pc:sldMk cId="3599553689" sldId="2147307485"/>
            <ac:spMk id="28" creationId="{57DE089B-5DA7-40E2-88B0-96941EA72729}"/>
          </ac:spMkLst>
        </pc:spChg>
        <pc:spChg chg="mod">
          <ac:chgData name="Ajwaliya, Nishit" userId="d6171631-3d08-453d-8afd-2dc62a5026e2" providerId="ADAL" clId="{678AD243-71C4-4A17-8592-AF5CDCD65377}" dt="2021-06-29T21:28:23.561" v="10172" actId="14100"/>
          <ac:spMkLst>
            <pc:docMk/>
            <pc:sldMk cId="3599553689" sldId="2147307485"/>
            <ac:spMk id="30" creationId="{E0B4B23A-7932-43BC-AF8D-0F91C289B511}"/>
          </ac:spMkLst>
        </pc:spChg>
        <pc:spChg chg="mod">
          <ac:chgData name="Ajwaliya, Nishit" userId="d6171631-3d08-453d-8afd-2dc62a5026e2" providerId="ADAL" clId="{678AD243-71C4-4A17-8592-AF5CDCD65377}" dt="2021-05-14T18:10:38.449" v="6567" actId="14100"/>
          <ac:spMkLst>
            <pc:docMk/>
            <pc:sldMk cId="3599553689" sldId="2147307485"/>
            <ac:spMk id="33" creationId="{0C00487C-EEF0-4683-8846-FC948EF76C6E}"/>
          </ac:spMkLst>
        </pc:spChg>
        <pc:spChg chg="mod">
          <ac:chgData name="Ajwaliya, Nishit" userId="d6171631-3d08-453d-8afd-2dc62a5026e2" providerId="ADAL" clId="{678AD243-71C4-4A17-8592-AF5CDCD65377}" dt="2021-05-14T17:44:43.109" v="6037" actId="1036"/>
          <ac:spMkLst>
            <pc:docMk/>
            <pc:sldMk cId="3599553689" sldId="2147307485"/>
            <ac:spMk id="42" creationId="{1099C169-F24E-444E-856A-49EEB09E8ED3}"/>
          </ac:spMkLst>
        </pc:spChg>
        <pc:spChg chg="mod">
          <ac:chgData name="Ajwaliya, Nishit" userId="d6171631-3d08-453d-8afd-2dc62a5026e2" providerId="ADAL" clId="{678AD243-71C4-4A17-8592-AF5CDCD65377}" dt="2021-05-14T17:45:16.080" v="6068" actId="1035"/>
          <ac:spMkLst>
            <pc:docMk/>
            <pc:sldMk cId="3599553689" sldId="2147307485"/>
            <ac:spMk id="43" creationId="{56E801B7-7A25-42F8-96A7-0CA94319B74C}"/>
          </ac:spMkLst>
        </pc:spChg>
        <pc:spChg chg="mod">
          <ac:chgData name="Ajwaliya, Nishit" userId="d6171631-3d08-453d-8afd-2dc62a5026e2" providerId="ADAL" clId="{678AD243-71C4-4A17-8592-AF5CDCD65377}" dt="2021-05-14T18:08:29.283" v="6504" actId="1037"/>
          <ac:spMkLst>
            <pc:docMk/>
            <pc:sldMk cId="3599553689" sldId="2147307485"/>
            <ac:spMk id="64" creationId="{2D1BA13E-A354-4B38-A999-A785D8966392}"/>
          </ac:spMkLst>
        </pc:spChg>
        <pc:spChg chg="del mod">
          <ac:chgData name="Ajwaliya, Nishit" userId="d6171631-3d08-453d-8afd-2dc62a5026e2" providerId="ADAL" clId="{678AD243-71C4-4A17-8592-AF5CDCD65377}" dt="2021-05-14T18:07:12.115" v="6445" actId="478"/>
          <ac:spMkLst>
            <pc:docMk/>
            <pc:sldMk cId="3599553689" sldId="2147307485"/>
            <ac:spMk id="65" creationId="{44EA30E4-244E-4F82-9D7D-21905BD4BA11}"/>
          </ac:spMkLst>
        </pc:spChg>
        <pc:spChg chg="mod">
          <ac:chgData name="Ajwaliya, Nishit" userId="d6171631-3d08-453d-8afd-2dc62a5026e2" providerId="ADAL" clId="{678AD243-71C4-4A17-8592-AF5CDCD65377}" dt="2021-05-14T18:08:29.283" v="6504" actId="1037"/>
          <ac:spMkLst>
            <pc:docMk/>
            <pc:sldMk cId="3599553689" sldId="2147307485"/>
            <ac:spMk id="66" creationId="{A12C81B1-BE83-48E0-82F6-ED0EDEB9568A}"/>
          </ac:spMkLst>
        </pc:spChg>
        <pc:spChg chg="mod">
          <ac:chgData name="Ajwaliya, Nishit" userId="d6171631-3d08-453d-8afd-2dc62a5026e2" providerId="ADAL" clId="{678AD243-71C4-4A17-8592-AF5CDCD65377}" dt="2021-05-14T18:06:04.288" v="6415" actId="1037"/>
          <ac:spMkLst>
            <pc:docMk/>
            <pc:sldMk cId="3599553689" sldId="2147307485"/>
            <ac:spMk id="67" creationId="{466AB895-CCC8-43ED-A69B-54D9D03307DE}"/>
          </ac:spMkLst>
        </pc:spChg>
        <pc:spChg chg="mod">
          <ac:chgData name="Ajwaliya, Nishit" userId="d6171631-3d08-453d-8afd-2dc62a5026e2" providerId="ADAL" clId="{678AD243-71C4-4A17-8592-AF5CDCD65377}" dt="2021-05-14T21:21:39.633" v="7274" actId="1035"/>
          <ac:spMkLst>
            <pc:docMk/>
            <pc:sldMk cId="3599553689" sldId="2147307485"/>
            <ac:spMk id="68" creationId="{9B234603-0E51-4363-A842-3971F23C9FCE}"/>
          </ac:spMkLst>
        </pc:spChg>
        <pc:spChg chg="mod">
          <ac:chgData name="Ajwaliya, Nishit" userId="d6171631-3d08-453d-8afd-2dc62a5026e2" providerId="ADAL" clId="{678AD243-71C4-4A17-8592-AF5CDCD65377}" dt="2021-05-14T18:08:29.283" v="6504" actId="1037"/>
          <ac:spMkLst>
            <pc:docMk/>
            <pc:sldMk cId="3599553689" sldId="2147307485"/>
            <ac:spMk id="69" creationId="{01B95DB8-8395-45E2-8451-4D61E9C8C07C}"/>
          </ac:spMkLst>
        </pc:spChg>
        <pc:spChg chg="mod">
          <ac:chgData name="Ajwaliya, Nishit" userId="d6171631-3d08-453d-8afd-2dc62a5026e2" providerId="ADAL" clId="{678AD243-71C4-4A17-8592-AF5CDCD65377}" dt="2021-05-14T18:08:29.283" v="6504" actId="1037"/>
          <ac:spMkLst>
            <pc:docMk/>
            <pc:sldMk cId="3599553689" sldId="2147307485"/>
            <ac:spMk id="70" creationId="{CB334639-855E-4746-BFC5-89E45E4FD7C6}"/>
          </ac:spMkLst>
        </pc:spChg>
        <pc:spChg chg="mod">
          <ac:chgData name="Ajwaliya, Nishit" userId="d6171631-3d08-453d-8afd-2dc62a5026e2" providerId="ADAL" clId="{678AD243-71C4-4A17-8592-AF5CDCD65377}" dt="2021-05-14T18:06:16.210" v="6423" actId="1037"/>
          <ac:spMkLst>
            <pc:docMk/>
            <pc:sldMk cId="3599553689" sldId="2147307485"/>
            <ac:spMk id="73" creationId="{6672F47D-DC96-412C-A349-2C7614CB09AC}"/>
          </ac:spMkLst>
        </pc:spChg>
        <pc:spChg chg="mod">
          <ac:chgData name="Ajwaliya, Nishit" userId="d6171631-3d08-453d-8afd-2dc62a5026e2" providerId="ADAL" clId="{678AD243-71C4-4A17-8592-AF5CDCD65377}" dt="2021-05-14T21:22:37.621" v="7336" actId="1037"/>
          <ac:spMkLst>
            <pc:docMk/>
            <pc:sldMk cId="3599553689" sldId="2147307485"/>
            <ac:spMk id="74" creationId="{329EE1C2-CC16-4987-A784-AF27EDB40520}"/>
          </ac:spMkLst>
        </pc:spChg>
        <pc:spChg chg="mod">
          <ac:chgData name="Ajwaliya, Nishit" userId="d6171631-3d08-453d-8afd-2dc62a5026e2" providerId="ADAL" clId="{678AD243-71C4-4A17-8592-AF5CDCD65377}" dt="2021-05-14T17:45:00.953" v="6063" actId="1036"/>
          <ac:spMkLst>
            <pc:docMk/>
            <pc:sldMk cId="3599553689" sldId="2147307485"/>
            <ac:spMk id="78" creationId="{CAC66209-F7F6-4C52-ACA6-73ED3C140E75}"/>
          </ac:spMkLst>
        </pc:spChg>
        <pc:spChg chg="mod">
          <ac:chgData name="Ajwaliya, Nishit" userId="d6171631-3d08-453d-8afd-2dc62a5026e2" providerId="ADAL" clId="{678AD243-71C4-4A17-8592-AF5CDCD65377}" dt="2021-05-14T17:45:00.953" v="6063" actId="1036"/>
          <ac:spMkLst>
            <pc:docMk/>
            <pc:sldMk cId="3599553689" sldId="2147307485"/>
            <ac:spMk id="79" creationId="{A18C78BC-93C9-45EA-AC20-CFF10E2707B7}"/>
          </ac:spMkLst>
        </pc:spChg>
        <pc:spChg chg="mod">
          <ac:chgData name="Ajwaliya, Nishit" userId="d6171631-3d08-453d-8afd-2dc62a5026e2" providerId="ADAL" clId="{678AD243-71C4-4A17-8592-AF5CDCD65377}" dt="2021-05-14T17:45:00.953" v="6063" actId="1036"/>
          <ac:spMkLst>
            <pc:docMk/>
            <pc:sldMk cId="3599553689" sldId="2147307485"/>
            <ac:spMk id="80" creationId="{0C03A630-9600-482E-885B-24C71A457DC5}"/>
          </ac:spMkLst>
        </pc:spChg>
        <pc:spChg chg="mod">
          <ac:chgData name="Ajwaliya, Nishit" userId="d6171631-3d08-453d-8afd-2dc62a5026e2" providerId="ADAL" clId="{678AD243-71C4-4A17-8592-AF5CDCD65377}" dt="2021-05-14T18:08:29.283" v="6504" actId="1037"/>
          <ac:spMkLst>
            <pc:docMk/>
            <pc:sldMk cId="3599553689" sldId="2147307485"/>
            <ac:spMk id="81" creationId="{8F7C78EF-3C75-4163-A598-3EFE46A4496D}"/>
          </ac:spMkLst>
        </pc:spChg>
        <pc:spChg chg="mod">
          <ac:chgData name="Ajwaliya, Nishit" userId="d6171631-3d08-453d-8afd-2dc62a5026e2" providerId="ADAL" clId="{678AD243-71C4-4A17-8592-AF5CDCD65377}" dt="2021-05-14T18:05:18.797" v="6397" actId="1037"/>
          <ac:spMkLst>
            <pc:docMk/>
            <pc:sldMk cId="3599553689" sldId="2147307485"/>
            <ac:spMk id="83" creationId="{94B214B1-8059-4334-B47A-434338024433}"/>
          </ac:spMkLst>
        </pc:spChg>
        <pc:spChg chg="mod">
          <ac:chgData name="Ajwaliya, Nishit" userId="d6171631-3d08-453d-8afd-2dc62a5026e2" providerId="ADAL" clId="{678AD243-71C4-4A17-8592-AF5CDCD65377}" dt="2021-05-14T18:08:29.283" v="6504" actId="1037"/>
          <ac:spMkLst>
            <pc:docMk/>
            <pc:sldMk cId="3599553689" sldId="2147307485"/>
            <ac:spMk id="84" creationId="{60BBD388-7AED-42EE-A76C-C401F0E3C966}"/>
          </ac:spMkLst>
        </pc:spChg>
        <pc:spChg chg="mod">
          <ac:chgData name="Ajwaliya, Nishit" userId="d6171631-3d08-453d-8afd-2dc62a5026e2" providerId="ADAL" clId="{678AD243-71C4-4A17-8592-AF5CDCD65377}" dt="2021-05-14T18:08:29.283" v="6504" actId="1037"/>
          <ac:spMkLst>
            <pc:docMk/>
            <pc:sldMk cId="3599553689" sldId="2147307485"/>
            <ac:spMk id="85" creationId="{94C2F0E4-C549-4C65-85EC-0F72D28AEB7B}"/>
          </ac:spMkLst>
        </pc:spChg>
        <pc:spChg chg="mod">
          <ac:chgData name="Ajwaliya, Nishit" userId="d6171631-3d08-453d-8afd-2dc62a5026e2" providerId="ADAL" clId="{678AD243-71C4-4A17-8592-AF5CDCD65377}" dt="2021-05-14T18:08:29.283" v="6504" actId="1037"/>
          <ac:spMkLst>
            <pc:docMk/>
            <pc:sldMk cId="3599553689" sldId="2147307485"/>
            <ac:spMk id="86" creationId="{7BEAD126-BC38-4A82-9ADF-631A1EB5B79A}"/>
          </ac:spMkLst>
        </pc:spChg>
        <pc:spChg chg="mod">
          <ac:chgData name="Ajwaliya, Nishit" userId="d6171631-3d08-453d-8afd-2dc62a5026e2" providerId="ADAL" clId="{678AD243-71C4-4A17-8592-AF5CDCD65377}" dt="2021-05-14T18:08:29.283" v="6504" actId="1037"/>
          <ac:spMkLst>
            <pc:docMk/>
            <pc:sldMk cId="3599553689" sldId="2147307485"/>
            <ac:spMk id="87" creationId="{D171760A-447B-483E-87A3-5A7511C18F93}"/>
          </ac:spMkLst>
        </pc:spChg>
        <pc:spChg chg="mod">
          <ac:chgData name="Ajwaliya, Nishit" userId="d6171631-3d08-453d-8afd-2dc62a5026e2" providerId="ADAL" clId="{678AD243-71C4-4A17-8592-AF5CDCD65377}" dt="2021-05-14T18:08:29.283" v="6504" actId="1037"/>
          <ac:spMkLst>
            <pc:docMk/>
            <pc:sldMk cId="3599553689" sldId="2147307485"/>
            <ac:spMk id="88" creationId="{1C61089B-9BC4-4D8D-B373-9B95214FAE1A}"/>
          </ac:spMkLst>
        </pc:spChg>
        <pc:spChg chg="mod">
          <ac:chgData name="Ajwaliya, Nishit" userId="d6171631-3d08-453d-8afd-2dc62a5026e2" providerId="ADAL" clId="{678AD243-71C4-4A17-8592-AF5CDCD65377}" dt="2021-05-14T21:22:29.418" v="7330" actId="1035"/>
          <ac:spMkLst>
            <pc:docMk/>
            <pc:sldMk cId="3599553689" sldId="2147307485"/>
            <ac:spMk id="89" creationId="{4F392A1F-E064-468E-8093-EFE5C4D5F910}"/>
          </ac:spMkLst>
        </pc:spChg>
        <pc:spChg chg="mod">
          <ac:chgData name="Ajwaliya, Nishit" userId="d6171631-3d08-453d-8afd-2dc62a5026e2" providerId="ADAL" clId="{678AD243-71C4-4A17-8592-AF5CDCD65377}" dt="2021-05-14T21:22:33.029" v="7333" actId="1037"/>
          <ac:spMkLst>
            <pc:docMk/>
            <pc:sldMk cId="3599553689" sldId="2147307485"/>
            <ac:spMk id="90" creationId="{3DA6849D-1D9C-4362-9CFD-4C60F909C627}"/>
          </ac:spMkLst>
        </pc:spChg>
        <pc:spChg chg="mod">
          <ac:chgData name="Ajwaliya, Nishit" userId="d6171631-3d08-453d-8afd-2dc62a5026e2" providerId="ADAL" clId="{678AD243-71C4-4A17-8592-AF5CDCD65377}" dt="2021-05-14T21:21:20.994" v="7258" actId="108"/>
          <ac:spMkLst>
            <pc:docMk/>
            <pc:sldMk cId="3599553689" sldId="2147307485"/>
            <ac:spMk id="91" creationId="{DB63FBA2-01D0-411C-A156-891BF33CC32C}"/>
          </ac:spMkLst>
        </pc:spChg>
        <pc:spChg chg="mod">
          <ac:chgData name="Ajwaliya, Nishit" userId="d6171631-3d08-453d-8afd-2dc62a5026e2" providerId="ADAL" clId="{678AD243-71C4-4A17-8592-AF5CDCD65377}" dt="2021-05-14T21:21:30.606" v="7269" actId="108"/>
          <ac:spMkLst>
            <pc:docMk/>
            <pc:sldMk cId="3599553689" sldId="2147307485"/>
            <ac:spMk id="92" creationId="{20EDFDA8-5ED5-4F88-A236-2D51AF268A6D}"/>
          </ac:spMkLst>
        </pc:spChg>
        <pc:spChg chg="del">
          <ac:chgData name="Ajwaliya, Nishit" userId="d6171631-3d08-453d-8afd-2dc62a5026e2" providerId="ADAL" clId="{678AD243-71C4-4A17-8592-AF5CDCD65377}" dt="2021-05-14T17:37:40.001" v="5815" actId="478"/>
          <ac:spMkLst>
            <pc:docMk/>
            <pc:sldMk cId="3599553689" sldId="2147307485"/>
            <ac:spMk id="93" creationId="{CEA48617-801D-471A-971F-7D298B3243D0}"/>
          </ac:spMkLst>
        </pc:spChg>
        <pc:spChg chg="del">
          <ac:chgData name="Ajwaliya, Nishit" userId="d6171631-3d08-453d-8afd-2dc62a5026e2" providerId="ADAL" clId="{678AD243-71C4-4A17-8592-AF5CDCD65377}" dt="2021-05-14T17:37:00.850" v="5813" actId="478"/>
          <ac:spMkLst>
            <pc:docMk/>
            <pc:sldMk cId="3599553689" sldId="2147307485"/>
            <ac:spMk id="94" creationId="{718BCF56-421F-490D-9097-600867CBE8EE}"/>
          </ac:spMkLst>
        </pc:spChg>
        <pc:spChg chg="mod">
          <ac:chgData name="Ajwaliya, Nishit" userId="d6171631-3d08-453d-8afd-2dc62a5026e2" providerId="ADAL" clId="{678AD243-71C4-4A17-8592-AF5CDCD65377}" dt="2021-05-14T18:45:37.025" v="7081" actId="1037"/>
          <ac:spMkLst>
            <pc:docMk/>
            <pc:sldMk cId="3599553689" sldId="2147307485"/>
            <ac:spMk id="95" creationId="{F15A6982-A985-459D-AABD-50932DDCD28A}"/>
          </ac:spMkLst>
        </pc:spChg>
        <pc:spChg chg="add mod">
          <ac:chgData name="Ajwaliya, Nishit" userId="d6171631-3d08-453d-8afd-2dc62a5026e2" providerId="ADAL" clId="{678AD243-71C4-4A17-8592-AF5CDCD65377}" dt="2021-05-14T21:21:46.404" v="7279" actId="1037"/>
          <ac:spMkLst>
            <pc:docMk/>
            <pc:sldMk cId="3599553689" sldId="2147307485"/>
            <ac:spMk id="96" creationId="{C996DA08-F4A8-4CF4-8B5D-A90D19F4E063}"/>
          </ac:spMkLst>
        </pc:spChg>
        <pc:spChg chg="mod">
          <ac:chgData name="Ajwaliya, Nishit" userId="d6171631-3d08-453d-8afd-2dc62a5026e2" providerId="ADAL" clId="{678AD243-71C4-4A17-8592-AF5CDCD65377}" dt="2021-06-25T13:13:33.331" v="10171" actId="1037"/>
          <ac:spMkLst>
            <pc:docMk/>
            <pc:sldMk cId="3599553689" sldId="2147307485"/>
            <ac:spMk id="97" creationId="{AA2E24C4-B101-4682-BE15-DD842C6C85F6}"/>
          </ac:spMkLst>
        </pc:spChg>
        <pc:spChg chg="mod">
          <ac:chgData name="Ajwaliya, Nishit" userId="d6171631-3d08-453d-8afd-2dc62a5026e2" providerId="ADAL" clId="{678AD243-71C4-4A17-8592-AF5CDCD65377}" dt="2021-06-29T21:28:27.025" v="10184" actId="1038"/>
          <ac:spMkLst>
            <pc:docMk/>
            <pc:sldMk cId="3599553689" sldId="2147307485"/>
            <ac:spMk id="98" creationId="{CA7D060B-4FE0-4E6D-B0CC-0728E36EC4D1}"/>
          </ac:spMkLst>
        </pc:spChg>
        <pc:spChg chg="mod">
          <ac:chgData name="Ajwaliya, Nishit" userId="d6171631-3d08-453d-8afd-2dc62a5026e2" providerId="ADAL" clId="{678AD243-71C4-4A17-8592-AF5CDCD65377}" dt="2021-06-25T13:13:33.331" v="10171" actId="1037"/>
          <ac:spMkLst>
            <pc:docMk/>
            <pc:sldMk cId="3599553689" sldId="2147307485"/>
            <ac:spMk id="99" creationId="{59817DAA-161B-420A-BC4D-60DEF49EC9AE}"/>
          </ac:spMkLst>
        </pc:spChg>
        <pc:spChg chg="mod">
          <ac:chgData name="Ajwaliya, Nishit" userId="d6171631-3d08-453d-8afd-2dc62a5026e2" providerId="ADAL" clId="{678AD243-71C4-4A17-8592-AF5CDCD65377}" dt="2021-05-14T18:14:23.506" v="6590" actId="1037"/>
          <ac:spMkLst>
            <pc:docMk/>
            <pc:sldMk cId="3599553689" sldId="2147307485"/>
            <ac:spMk id="100" creationId="{3A09A029-302E-4B9B-866D-0D696D5131FA}"/>
          </ac:spMkLst>
        </pc:spChg>
        <pc:spChg chg="mod">
          <ac:chgData name="Ajwaliya, Nishit" userId="d6171631-3d08-453d-8afd-2dc62a5026e2" providerId="ADAL" clId="{678AD243-71C4-4A17-8592-AF5CDCD65377}" dt="2021-05-14T21:20:06.411" v="7241" actId="255"/>
          <ac:spMkLst>
            <pc:docMk/>
            <pc:sldMk cId="3599553689" sldId="2147307485"/>
            <ac:spMk id="101" creationId="{15CC1046-8680-45CB-89F0-310FEB97A359}"/>
          </ac:spMkLst>
        </pc:spChg>
        <pc:spChg chg="mod">
          <ac:chgData name="Ajwaliya, Nishit" userId="d6171631-3d08-453d-8afd-2dc62a5026e2" providerId="ADAL" clId="{678AD243-71C4-4A17-8592-AF5CDCD65377}" dt="2021-05-14T18:14:23.506" v="6590" actId="1037"/>
          <ac:spMkLst>
            <pc:docMk/>
            <pc:sldMk cId="3599553689" sldId="2147307485"/>
            <ac:spMk id="102" creationId="{1FFAC9FD-B3F0-4106-BF9A-3DC5D127BC52}"/>
          </ac:spMkLst>
        </pc:spChg>
        <pc:spChg chg="del mod">
          <ac:chgData name="Ajwaliya, Nishit" userId="d6171631-3d08-453d-8afd-2dc62a5026e2" providerId="ADAL" clId="{678AD243-71C4-4A17-8592-AF5CDCD65377}" dt="2021-05-14T17:32:00.829" v="5570" actId="478"/>
          <ac:spMkLst>
            <pc:docMk/>
            <pc:sldMk cId="3599553689" sldId="2147307485"/>
            <ac:spMk id="103" creationId="{A55B8CAF-8879-4121-824B-B5030C1DEE34}"/>
          </ac:spMkLst>
        </pc:spChg>
        <pc:spChg chg="mod">
          <ac:chgData name="Ajwaliya, Nishit" userId="d6171631-3d08-453d-8afd-2dc62a5026e2" providerId="ADAL" clId="{678AD243-71C4-4A17-8592-AF5CDCD65377}" dt="2021-06-25T13:13:33.331" v="10171" actId="1037"/>
          <ac:spMkLst>
            <pc:docMk/>
            <pc:sldMk cId="3599553689" sldId="2147307485"/>
            <ac:spMk id="105" creationId="{D4496B31-6AC2-4899-9CEA-3A3BA5EAFE9F}"/>
          </ac:spMkLst>
        </pc:spChg>
        <pc:spChg chg="mod">
          <ac:chgData name="Ajwaliya, Nishit" userId="d6171631-3d08-453d-8afd-2dc62a5026e2" providerId="ADAL" clId="{678AD243-71C4-4A17-8592-AF5CDCD65377}" dt="2021-05-14T18:45:37.025" v="7081" actId="1037"/>
          <ac:spMkLst>
            <pc:docMk/>
            <pc:sldMk cId="3599553689" sldId="2147307485"/>
            <ac:spMk id="106" creationId="{8CAE9CB2-933C-44C2-8ED6-D2956D406FC8}"/>
          </ac:spMkLst>
        </pc:spChg>
        <pc:spChg chg="add mod">
          <ac:chgData name="Ajwaliya, Nishit" userId="d6171631-3d08-453d-8afd-2dc62a5026e2" providerId="ADAL" clId="{678AD243-71C4-4A17-8592-AF5CDCD65377}" dt="2021-05-14T21:21:51.230" v="7287" actId="1037"/>
          <ac:spMkLst>
            <pc:docMk/>
            <pc:sldMk cId="3599553689" sldId="2147307485"/>
            <ac:spMk id="107" creationId="{BC441BF8-EFBF-4F2D-A5EE-A95E97B0324C}"/>
          </ac:spMkLst>
        </pc:spChg>
        <pc:spChg chg="add mod">
          <ac:chgData name="Ajwaliya, Nishit" userId="d6171631-3d08-453d-8afd-2dc62a5026e2" providerId="ADAL" clId="{678AD243-71C4-4A17-8592-AF5CDCD65377}" dt="2021-05-14T21:22:03.247" v="7310" actId="1035"/>
          <ac:spMkLst>
            <pc:docMk/>
            <pc:sldMk cId="3599553689" sldId="2147307485"/>
            <ac:spMk id="108" creationId="{3B22A72B-41E4-46E3-B33D-2ABCE9D5DECD}"/>
          </ac:spMkLst>
        </pc:spChg>
        <pc:spChg chg="add mod">
          <ac:chgData name="Ajwaliya, Nishit" userId="d6171631-3d08-453d-8afd-2dc62a5026e2" providerId="ADAL" clId="{678AD243-71C4-4A17-8592-AF5CDCD65377}" dt="2021-05-14T21:20:06.411" v="7241" actId="255"/>
          <ac:spMkLst>
            <pc:docMk/>
            <pc:sldMk cId="3599553689" sldId="2147307485"/>
            <ac:spMk id="109" creationId="{52372A46-1DA2-4C14-B37C-428FB5D73C01}"/>
          </ac:spMkLst>
        </pc:spChg>
        <pc:spChg chg="mod">
          <ac:chgData name="Ajwaliya, Nishit" userId="d6171631-3d08-453d-8afd-2dc62a5026e2" providerId="ADAL" clId="{678AD243-71C4-4A17-8592-AF5CDCD65377}" dt="2021-06-25T13:13:33.331" v="10171" actId="1037"/>
          <ac:spMkLst>
            <pc:docMk/>
            <pc:sldMk cId="3599553689" sldId="2147307485"/>
            <ac:spMk id="110" creationId="{217883F5-EC22-4F06-ACCF-DD99C7CB893F}"/>
          </ac:spMkLst>
        </pc:spChg>
        <pc:spChg chg="add mod">
          <ac:chgData name="Ajwaliya, Nishit" userId="d6171631-3d08-453d-8afd-2dc62a5026e2" providerId="ADAL" clId="{678AD243-71C4-4A17-8592-AF5CDCD65377}" dt="2021-05-14T21:20:06.411" v="7241" actId="255"/>
          <ac:spMkLst>
            <pc:docMk/>
            <pc:sldMk cId="3599553689" sldId="2147307485"/>
            <ac:spMk id="111" creationId="{B355829F-0361-492D-BF1F-FDC0D49AD010}"/>
          </ac:spMkLst>
        </pc:spChg>
        <pc:spChg chg="mod">
          <ac:chgData name="Ajwaliya, Nishit" userId="d6171631-3d08-453d-8afd-2dc62a5026e2" providerId="ADAL" clId="{678AD243-71C4-4A17-8592-AF5CDCD65377}" dt="2021-06-25T13:13:33.331" v="10171" actId="1037"/>
          <ac:spMkLst>
            <pc:docMk/>
            <pc:sldMk cId="3599553689" sldId="2147307485"/>
            <ac:spMk id="112" creationId="{D8C94D13-8466-4F63-B0E7-7E613321E45F}"/>
          </ac:spMkLst>
        </pc:spChg>
        <pc:spChg chg="del">
          <ac:chgData name="Ajwaliya, Nishit" userId="d6171631-3d08-453d-8afd-2dc62a5026e2" providerId="ADAL" clId="{678AD243-71C4-4A17-8592-AF5CDCD65377}" dt="2021-05-14T17:38:11.680" v="5839" actId="478"/>
          <ac:spMkLst>
            <pc:docMk/>
            <pc:sldMk cId="3599553689" sldId="2147307485"/>
            <ac:spMk id="113" creationId="{B3B577FA-E4BE-4097-9CC8-B8646A46DFFE}"/>
          </ac:spMkLst>
        </pc:spChg>
        <pc:spChg chg="mod">
          <ac:chgData name="Ajwaliya, Nishit" userId="d6171631-3d08-453d-8afd-2dc62a5026e2" providerId="ADAL" clId="{678AD243-71C4-4A17-8592-AF5CDCD65377}" dt="2021-05-14T18:45:37.025" v="7081" actId="1037"/>
          <ac:spMkLst>
            <pc:docMk/>
            <pc:sldMk cId="3599553689" sldId="2147307485"/>
            <ac:spMk id="114" creationId="{CD387AF8-F468-4269-81F5-BF236440A027}"/>
          </ac:spMkLst>
        </pc:spChg>
        <pc:spChg chg="mod">
          <ac:chgData name="Ajwaliya, Nishit" userId="d6171631-3d08-453d-8afd-2dc62a5026e2" providerId="ADAL" clId="{678AD243-71C4-4A17-8592-AF5CDCD65377}" dt="2021-05-14T18:45:37.025" v="7081" actId="1037"/>
          <ac:spMkLst>
            <pc:docMk/>
            <pc:sldMk cId="3599553689" sldId="2147307485"/>
            <ac:spMk id="115" creationId="{AFA39E3B-5972-4961-8AD6-232126FDD057}"/>
          </ac:spMkLst>
        </pc:spChg>
        <pc:spChg chg="del">
          <ac:chgData name="Ajwaliya, Nishit" userId="d6171631-3d08-453d-8afd-2dc62a5026e2" providerId="ADAL" clId="{678AD243-71C4-4A17-8592-AF5CDCD65377}" dt="2021-05-14T17:37:00.850" v="5813" actId="478"/>
          <ac:spMkLst>
            <pc:docMk/>
            <pc:sldMk cId="3599553689" sldId="2147307485"/>
            <ac:spMk id="116" creationId="{D20B6FBB-3D96-4DB1-BFCD-BD52EE5DD0C0}"/>
          </ac:spMkLst>
        </pc:spChg>
        <pc:spChg chg="add mod">
          <ac:chgData name="Ajwaliya, Nishit" userId="d6171631-3d08-453d-8afd-2dc62a5026e2" providerId="ADAL" clId="{678AD243-71C4-4A17-8592-AF5CDCD65377}" dt="2021-05-14T21:22:46.844" v="7349" actId="1036"/>
          <ac:spMkLst>
            <pc:docMk/>
            <pc:sldMk cId="3599553689" sldId="2147307485"/>
            <ac:spMk id="117" creationId="{B8E772ED-4036-4B91-8DF2-71BEFC60A2F7}"/>
          </ac:spMkLst>
        </pc:spChg>
        <pc:spChg chg="mod">
          <ac:chgData name="Ajwaliya, Nishit" userId="d6171631-3d08-453d-8afd-2dc62a5026e2" providerId="ADAL" clId="{678AD243-71C4-4A17-8592-AF5CDCD65377}" dt="2021-05-14T18:10:54.723" v="6569" actId="14100"/>
          <ac:spMkLst>
            <pc:docMk/>
            <pc:sldMk cId="3599553689" sldId="2147307485"/>
            <ac:spMk id="118" creationId="{1694EDD0-14B1-4F7B-9AF6-F635D2B4A74E}"/>
          </ac:spMkLst>
        </pc:spChg>
        <pc:spChg chg="mod">
          <ac:chgData name="Ajwaliya, Nishit" userId="d6171631-3d08-453d-8afd-2dc62a5026e2" providerId="ADAL" clId="{678AD243-71C4-4A17-8592-AF5CDCD65377}" dt="2021-05-14T18:45:37.025" v="7081" actId="1037"/>
          <ac:spMkLst>
            <pc:docMk/>
            <pc:sldMk cId="3599553689" sldId="2147307485"/>
            <ac:spMk id="119" creationId="{C0EBCF05-983B-4B74-8D35-173A7F64E6EE}"/>
          </ac:spMkLst>
        </pc:spChg>
        <pc:spChg chg="mod">
          <ac:chgData name="Ajwaliya, Nishit" userId="d6171631-3d08-453d-8afd-2dc62a5026e2" providerId="ADAL" clId="{678AD243-71C4-4A17-8592-AF5CDCD65377}" dt="2021-05-14T18:08:14.045" v="6499" actId="14100"/>
          <ac:spMkLst>
            <pc:docMk/>
            <pc:sldMk cId="3599553689" sldId="2147307485"/>
            <ac:spMk id="120" creationId="{0985C24F-0727-47A9-A4DC-E0DF87EF2AAF}"/>
          </ac:spMkLst>
        </pc:spChg>
        <pc:spChg chg="del mod">
          <ac:chgData name="Ajwaliya, Nishit" userId="d6171631-3d08-453d-8afd-2dc62a5026e2" providerId="ADAL" clId="{678AD243-71C4-4A17-8592-AF5CDCD65377}" dt="2021-05-14T17:54:33.210" v="6251" actId="478"/>
          <ac:spMkLst>
            <pc:docMk/>
            <pc:sldMk cId="3599553689" sldId="2147307485"/>
            <ac:spMk id="121" creationId="{8FA32EF7-AAC3-4CFE-A691-EC498BFD359F}"/>
          </ac:spMkLst>
        </pc:spChg>
        <pc:spChg chg="add mod">
          <ac:chgData name="Ajwaliya, Nishit" userId="d6171631-3d08-453d-8afd-2dc62a5026e2" providerId="ADAL" clId="{678AD243-71C4-4A17-8592-AF5CDCD65377}" dt="2021-05-14T21:22:55.447" v="7365" actId="1037"/>
          <ac:spMkLst>
            <pc:docMk/>
            <pc:sldMk cId="3599553689" sldId="2147307485"/>
            <ac:spMk id="122" creationId="{22FFC695-BB15-4A80-BF61-1A6F3129B1A0}"/>
          </ac:spMkLst>
        </pc:spChg>
        <pc:spChg chg="mod">
          <ac:chgData name="Ajwaliya, Nishit" userId="d6171631-3d08-453d-8afd-2dc62a5026e2" providerId="ADAL" clId="{678AD243-71C4-4A17-8592-AF5CDCD65377}" dt="2021-05-14T18:08:29.283" v="6504" actId="1037"/>
          <ac:spMkLst>
            <pc:docMk/>
            <pc:sldMk cId="3599553689" sldId="2147307485"/>
            <ac:spMk id="123" creationId="{F8340138-0BF2-4FF0-B509-432F5CC72A75}"/>
          </ac:spMkLst>
        </pc:spChg>
        <pc:spChg chg="mod">
          <ac:chgData name="Ajwaliya, Nishit" userId="d6171631-3d08-453d-8afd-2dc62a5026e2" providerId="ADAL" clId="{678AD243-71C4-4A17-8592-AF5CDCD65377}" dt="2021-05-14T21:17:38.587" v="7091" actId="1037"/>
          <ac:spMkLst>
            <pc:docMk/>
            <pc:sldMk cId="3599553689" sldId="2147307485"/>
            <ac:spMk id="124" creationId="{9F4C7122-2C17-4AA5-A4A4-223756C4AB60}"/>
          </ac:spMkLst>
        </pc:spChg>
        <pc:spChg chg="add del mod">
          <ac:chgData name="Ajwaliya, Nishit" userId="d6171631-3d08-453d-8afd-2dc62a5026e2" providerId="ADAL" clId="{678AD243-71C4-4A17-8592-AF5CDCD65377}" dt="2021-05-14T17:37:40.001" v="5815" actId="478"/>
          <ac:spMkLst>
            <pc:docMk/>
            <pc:sldMk cId="3599553689" sldId="2147307485"/>
            <ac:spMk id="125" creationId="{D9525033-5060-4B0D-B485-92160B2FC891}"/>
          </ac:spMkLst>
        </pc:spChg>
        <pc:spChg chg="mod">
          <ac:chgData name="Ajwaliya, Nishit" userId="d6171631-3d08-453d-8afd-2dc62a5026e2" providerId="ADAL" clId="{678AD243-71C4-4A17-8592-AF5CDCD65377}" dt="2021-05-14T18:08:29.283" v="6504" actId="1037"/>
          <ac:spMkLst>
            <pc:docMk/>
            <pc:sldMk cId="3599553689" sldId="2147307485"/>
            <ac:spMk id="126" creationId="{907AA7C3-1245-45EC-9C80-1A87690C683F}"/>
          </ac:spMkLst>
        </pc:spChg>
        <pc:spChg chg="mod">
          <ac:chgData name="Ajwaliya, Nishit" userId="d6171631-3d08-453d-8afd-2dc62a5026e2" providerId="ADAL" clId="{678AD243-71C4-4A17-8592-AF5CDCD65377}" dt="2021-05-14T18:08:29.283" v="6504" actId="1037"/>
          <ac:spMkLst>
            <pc:docMk/>
            <pc:sldMk cId="3599553689" sldId="2147307485"/>
            <ac:spMk id="127" creationId="{FFD8F116-EE4A-477D-AB8F-8002FDADFB81}"/>
          </ac:spMkLst>
        </pc:spChg>
        <pc:spChg chg="mod">
          <ac:chgData name="Ajwaliya, Nishit" userId="d6171631-3d08-453d-8afd-2dc62a5026e2" providerId="ADAL" clId="{678AD243-71C4-4A17-8592-AF5CDCD65377}" dt="2021-05-14T18:09:18.704" v="6515" actId="14100"/>
          <ac:spMkLst>
            <pc:docMk/>
            <pc:sldMk cId="3599553689" sldId="2147307485"/>
            <ac:spMk id="128" creationId="{6ABCA873-7546-4896-8E99-701F8FB06648}"/>
          </ac:spMkLst>
        </pc:spChg>
        <pc:spChg chg="mod">
          <ac:chgData name="Ajwaliya, Nishit" userId="d6171631-3d08-453d-8afd-2dc62a5026e2" providerId="ADAL" clId="{678AD243-71C4-4A17-8592-AF5CDCD65377}" dt="2021-05-14T18:08:29.283" v="6504" actId="1037"/>
          <ac:spMkLst>
            <pc:docMk/>
            <pc:sldMk cId="3599553689" sldId="2147307485"/>
            <ac:spMk id="129" creationId="{DE2965F7-5F5B-45F7-BBF8-2465706802D9}"/>
          </ac:spMkLst>
        </pc:spChg>
        <pc:spChg chg="mod">
          <ac:chgData name="Ajwaliya, Nishit" userId="d6171631-3d08-453d-8afd-2dc62a5026e2" providerId="ADAL" clId="{678AD243-71C4-4A17-8592-AF5CDCD65377}" dt="2021-05-14T18:08:29.283" v="6504" actId="1037"/>
          <ac:spMkLst>
            <pc:docMk/>
            <pc:sldMk cId="3599553689" sldId="2147307485"/>
            <ac:spMk id="130" creationId="{8D198724-3E6B-4504-AE71-7A5090A86AB4}"/>
          </ac:spMkLst>
        </pc:spChg>
        <pc:spChg chg="add mod">
          <ac:chgData name="Ajwaliya, Nishit" userId="d6171631-3d08-453d-8afd-2dc62a5026e2" providerId="ADAL" clId="{678AD243-71C4-4A17-8592-AF5CDCD65377}" dt="2021-05-14T21:22:19.735" v="7323" actId="1035"/>
          <ac:spMkLst>
            <pc:docMk/>
            <pc:sldMk cId="3599553689" sldId="2147307485"/>
            <ac:spMk id="131" creationId="{294148AA-8963-4D00-AF3C-41E25B7ECF82}"/>
          </ac:spMkLst>
        </pc:spChg>
        <pc:spChg chg="add mod">
          <ac:chgData name="Ajwaliya, Nishit" userId="d6171631-3d08-453d-8afd-2dc62a5026e2" providerId="ADAL" clId="{678AD243-71C4-4A17-8592-AF5CDCD65377}" dt="2021-05-14T21:22:14.664" v="7317" actId="1035"/>
          <ac:spMkLst>
            <pc:docMk/>
            <pc:sldMk cId="3599553689" sldId="2147307485"/>
            <ac:spMk id="132" creationId="{49FBF164-CA2A-4F7B-A5D2-0F97D7CD3F53}"/>
          </ac:spMkLst>
        </pc:spChg>
        <pc:spChg chg="mod">
          <ac:chgData name="Ajwaliya, Nishit" userId="d6171631-3d08-453d-8afd-2dc62a5026e2" providerId="ADAL" clId="{678AD243-71C4-4A17-8592-AF5CDCD65377}" dt="2021-05-14T18:08:29.283" v="6504" actId="1037"/>
          <ac:spMkLst>
            <pc:docMk/>
            <pc:sldMk cId="3599553689" sldId="2147307485"/>
            <ac:spMk id="133" creationId="{05BCA9C4-6418-416D-A089-DF0F70D10B10}"/>
          </ac:spMkLst>
        </pc:spChg>
        <pc:spChg chg="mod">
          <ac:chgData name="Ajwaliya, Nishit" userId="d6171631-3d08-453d-8afd-2dc62a5026e2" providerId="ADAL" clId="{678AD243-71C4-4A17-8592-AF5CDCD65377}" dt="2021-05-14T21:18:42.498" v="7150" actId="14100"/>
          <ac:spMkLst>
            <pc:docMk/>
            <pc:sldMk cId="3599553689" sldId="2147307485"/>
            <ac:spMk id="134" creationId="{B31F85A9-BFCB-43CF-9359-A90A24B82FBD}"/>
          </ac:spMkLst>
        </pc:spChg>
        <pc:spChg chg="mod">
          <ac:chgData name="Ajwaliya, Nishit" userId="d6171631-3d08-453d-8afd-2dc62a5026e2" providerId="ADAL" clId="{678AD243-71C4-4A17-8592-AF5CDCD65377}" dt="2021-05-19T18:42:19.328" v="7402" actId="20577"/>
          <ac:spMkLst>
            <pc:docMk/>
            <pc:sldMk cId="3599553689" sldId="2147307485"/>
            <ac:spMk id="135" creationId="{DD9D14D5-1B47-4C8D-A25D-84056CBE3B2D}"/>
          </ac:spMkLst>
        </pc:spChg>
        <pc:spChg chg="mod">
          <ac:chgData name="Ajwaliya, Nishit" userId="d6171631-3d08-453d-8afd-2dc62a5026e2" providerId="ADAL" clId="{678AD243-71C4-4A17-8592-AF5CDCD65377}" dt="2021-05-14T21:19:07.502" v="7195" actId="1037"/>
          <ac:spMkLst>
            <pc:docMk/>
            <pc:sldMk cId="3599553689" sldId="2147307485"/>
            <ac:spMk id="136" creationId="{D5097388-9660-42DB-9567-B164CB3EC5A0}"/>
          </ac:spMkLst>
        </pc:spChg>
        <pc:spChg chg="add mod">
          <ac:chgData name="Ajwaliya, Nishit" userId="d6171631-3d08-453d-8afd-2dc62a5026e2" providerId="ADAL" clId="{678AD243-71C4-4A17-8592-AF5CDCD65377}" dt="2021-05-14T18:06:16.210" v="6423" actId="1037"/>
          <ac:spMkLst>
            <pc:docMk/>
            <pc:sldMk cId="3599553689" sldId="2147307485"/>
            <ac:spMk id="137" creationId="{21D2CF50-8954-4955-9535-2B171BFCC3A3}"/>
          </ac:spMkLst>
        </pc:spChg>
        <pc:spChg chg="mod">
          <ac:chgData name="Ajwaliya, Nishit" userId="d6171631-3d08-453d-8afd-2dc62a5026e2" providerId="ADAL" clId="{678AD243-71C4-4A17-8592-AF5CDCD65377}" dt="2021-05-14T17:45:07.090" v="6065" actId="1036"/>
          <ac:spMkLst>
            <pc:docMk/>
            <pc:sldMk cId="3599553689" sldId="2147307485"/>
            <ac:spMk id="138" creationId="{2BDD3DE7-3FC1-4D02-A681-64E182864F29}"/>
          </ac:spMkLst>
        </pc:spChg>
        <pc:spChg chg="mod">
          <ac:chgData name="Ajwaliya, Nishit" userId="d6171631-3d08-453d-8afd-2dc62a5026e2" providerId="ADAL" clId="{678AD243-71C4-4A17-8592-AF5CDCD65377}" dt="2021-05-14T17:45:07.090" v="6065" actId="1036"/>
          <ac:spMkLst>
            <pc:docMk/>
            <pc:sldMk cId="3599553689" sldId="2147307485"/>
            <ac:spMk id="139" creationId="{DCEA2215-C91C-4143-9469-F530FE55C90F}"/>
          </ac:spMkLst>
        </pc:spChg>
        <pc:spChg chg="mod">
          <ac:chgData name="Ajwaliya, Nishit" userId="d6171631-3d08-453d-8afd-2dc62a5026e2" providerId="ADAL" clId="{678AD243-71C4-4A17-8592-AF5CDCD65377}" dt="2021-05-14T17:45:07.090" v="6065" actId="1036"/>
          <ac:spMkLst>
            <pc:docMk/>
            <pc:sldMk cId="3599553689" sldId="2147307485"/>
            <ac:spMk id="140" creationId="{17442861-3E8E-4979-97DD-4BF38E4EE735}"/>
          </ac:spMkLst>
        </pc:spChg>
        <pc:spChg chg="mod">
          <ac:chgData name="Ajwaliya, Nishit" userId="d6171631-3d08-453d-8afd-2dc62a5026e2" providerId="ADAL" clId="{678AD243-71C4-4A17-8592-AF5CDCD65377}" dt="2021-05-14T18:11:03.648" v="6570" actId="14100"/>
          <ac:spMkLst>
            <pc:docMk/>
            <pc:sldMk cId="3599553689" sldId="2147307485"/>
            <ac:spMk id="141" creationId="{8454E314-08AF-4EEC-BE26-CFEFD373A96C}"/>
          </ac:spMkLst>
        </pc:spChg>
        <pc:spChg chg="mod">
          <ac:chgData name="Ajwaliya, Nishit" userId="d6171631-3d08-453d-8afd-2dc62a5026e2" providerId="ADAL" clId="{678AD243-71C4-4A17-8592-AF5CDCD65377}" dt="2021-06-29T21:37:30.315" v="10252" actId="1038"/>
          <ac:spMkLst>
            <pc:docMk/>
            <pc:sldMk cId="3599553689" sldId="2147307485"/>
            <ac:spMk id="142" creationId="{74E8E649-57E6-4FF6-8FDC-37640C8CF740}"/>
          </ac:spMkLst>
        </pc:spChg>
        <pc:spChg chg="del mod">
          <ac:chgData name="Ajwaliya, Nishit" userId="d6171631-3d08-453d-8afd-2dc62a5026e2" providerId="ADAL" clId="{678AD243-71C4-4A17-8592-AF5CDCD65377}" dt="2021-05-14T17:53:21.751" v="6194" actId="478"/>
          <ac:spMkLst>
            <pc:docMk/>
            <pc:sldMk cId="3599553689" sldId="2147307485"/>
            <ac:spMk id="143" creationId="{66793348-176F-452C-A8EB-A6B4A27D3F4E}"/>
          </ac:spMkLst>
        </pc:spChg>
        <pc:spChg chg="mod">
          <ac:chgData name="Ajwaliya, Nishit" userId="d6171631-3d08-453d-8afd-2dc62a5026e2" providerId="ADAL" clId="{678AD243-71C4-4A17-8592-AF5CDCD65377}" dt="2021-05-14T18:05:18.797" v="6397" actId="1037"/>
          <ac:spMkLst>
            <pc:docMk/>
            <pc:sldMk cId="3599553689" sldId="2147307485"/>
            <ac:spMk id="144" creationId="{B7F088B2-B180-408A-9097-EAAA3DA83D05}"/>
          </ac:spMkLst>
        </pc:spChg>
        <pc:spChg chg="mod">
          <ac:chgData name="Ajwaliya, Nishit" userId="d6171631-3d08-453d-8afd-2dc62a5026e2" providerId="ADAL" clId="{678AD243-71C4-4A17-8592-AF5CDCD65377}" dt="2021-05-14T21:22:25.665" v="7327" actId="1035"/>
          <ac:spMkLst>
            <pc:docMk/>
            <pc:sldMk cId="3599553689" sldId="2147307485"/>
            <ac:spMk id="145" creationId="{A7132199-87DB-4DE4-864F-4CB9530D0E3E}"/>
          </ac:spMkLst>
        </pc:spChg>
        <pc:spChg chg="mod">
          <ac:chgData name="Ajwaliya, Nishit" userId="d6171631-3d08-453d-8afd-2dc62a5026e2" providerId="ADAL" clId="{678AD243-71C4-4A17-8592-AF5CDCD65377}" dt="2021-05-14T18:05:18.797" v="6397" actId="1037"/>
          <ac:spMkLst>
            <pc:docMk/>
            <pc:sldMk cId="3599553689" sldId="2147307485"/>
            <ac:spMk id="146" creationId="{B00D803B-D9B9-4768-AC71-0EA2488E4BC3}"/>
          </ac:spMkLst>
        </pc:spChg>
        <pc:spChg chg="add mod">
          <ac:chgData name="Ajwaliya, Nishit" userId="d6171631-3d08-453d-8afd-2dc62a5026e2" providerId="ADAL" clId="{678AD243-71C4-4A17-8592-AF5CDCD65377}" dt="2021-06-29T21:37:30.315" v="10252" actId="1038"/>
          <ac:spMkLst>
            <pc:docMk/>
            <pc:sldMk cId="3599553689" sldId="2147307485"/>
            <ac:spMk id="147" creationId="{C4B55F8B-9FFC-4440-8752-2D4253B7A9EB}"/>
          </ac:spMkLst>
        </pc:spChg>
        <pc:spChg chg="add mod">
          <ac:chgData name="Ajwaliya, Nishit" userId="d6171631-3d08-453d-8afd-2dc62a5026e2" providerId="ADAL" clId="{678AD243-71C4-4A17-8592-AF5CDCD65377}" dt="2021-06-29T21:37:30.315" v="10252" actId="1038"/>
          <ac:spMkLst>
            <pc:docMk/>
            <pc:sldMk cId="3599553689" sldId="2147307485"/>
            <ac:spMk id="148" creationId="{371FCF13-9919-40A8-A02F-D7C295AD6144}"/>
          </ac:spMkLst>
        </pc:spChg>
        <pc:spChg chg="add del mod">
          <ac:chgData name="Ajwaliya, Nishit" userId="d6171631-3d08-453d-8afd-2dc62a5026e2" providerId="ADAL" clId="{678AD243-71C4-4A17-8592-AF5CDCD65377}" dt="2021-05-14T17:50:30.925" v="6106" actId="478"/>
          <ac:spMkLst>
            <pc:docMk/>
            <pc:sldMk cId="3599553689" sldId="2147307485"/>
            <ac:spMk id="149" creationId="{6F39649C-92AF-4F59-9216-5D97356B1148}"/>
          </ac:spMkLst>
        </pc:spChg>
        <pc:spChg chg="mod">
          <ac:chgData name="Ajwaliya, Nishit" userId="d6171631-3d08-453d-8afd-2dc62a5026e2" providerId="ADAL" clId="{678AD243-71C4-4A17-8592-AF5CDCD65377}" dt="2021-05-14T18:08:29.283" v="6504" actId="1037"/>
          <ac:spMkLst>
            <pc:docMk/>
            <pc:sldMk cId="3599553689" sldId="2147307485"/>
            <ac:spMk id="150" creationId="{1B462DF7-7129-4030-9023-3BE86B89F625}"/>
          </ac:spMkLst>
        </pc:spChg>
        <pc:spChg chg="mod">
          <ac:chgData name="Ajwaliya, Nishit" userId="d6171631-3d08-453d-8afd-2dc62a5026e2" providerId="ADAL" clId="{678AD243-71C4-4A17-8592-AF5CDCD65377}" dt="2021-05-14T18:08:29.283" v="6504" actId="1037"/>
          <ac:spMkLst>
            <pc:docMk/>
            <pc:sldMk cId="3599553689" sldId="2147307485"/>
            <ac:spMk id="151" creationId="{E48FAD15-5A7D-431A-A138-B4407DF629FD}"/>
          </ac:spMkLst>
        </pc:spChg>
        <pc:spChg chg="mod">
          <ac:chgData name="Ajwaliya, Nishit" userId="d6171631-3d08-453d-8afd-2dc62a5026e2" providerId="ADAL" clId="{678AD243-71C4-4A17-8592-AF5CDCD65377}" dt="2021-05-14T18:14:23.506" v="6590" actId="1037"/>
          <ac:spMkLst>
            <pc:docMk/>
            <pc:sldMk cId="3599553689" sldId="2147307485"/>
            <ac:spMk id="152" creationId="{0C8BB149-CCDD-4AD2-9427-49F1A7AF2C10}"/>
          </ac:spMkLst>
        </pc:spChg>
        <pc:spChg chg="del mod">
          <ac:chgData name="Ajwaliya, Nishit" userId="d6171631-3d08-453d-8afd-2dc62a5026e2" providerId="ADAL" clId="{678AD243-71C4-4A17-8592-AF5CDCD65377}" dt="2021-05-14T17:32:00.829" v="5570" actId="478"/>
          <ac:spMkLst>
            <pc:docMk/>
            <pc:sldMk cId="3599553689" sldId="2147307485"/>
            <ac:spMk id="153" creationId="{4089AB22-43A6-4E72-B527-D69302FFBB17}"/>
          </ac:spMkLst>
        </pc:spChg>
        <pc:spChg chg="mod">
          <ac:chgData name="Ajwaliya, Nishit" userId="d6171631-3d08-453d-8afd-2dc62a5026e2" providerId="ADAL" clId="{678AD243-71C4-4A17-8592-AF5CDCD65377}" dt="2021-06-29T21:37:30.315" v="10252" actId="1038"/>
          <ac:spMkLst>
            <pc:docMk/>
            <pc:sldMk cId="3599553689" sldId="2147307485"/>
            <ac:spMk id="154" creationId="{68A66D4D-8972-418F-B65D-4BB5F301D2D0}"/>
          </ac:spMkLst>
        </pc:spChg>
        <pc:spChg chg="del mod">
          <ac:chgData name="Ajwaliya, Nishit" userId="d6171631-3d08-453d-8afd-2dc62a5026e2" providerId="ADAL" clId="{678AD243-71C4-4A17-8592-AF5CDCD65377}" dt="2021-05-14T17:53:21.751" v="6194" actId="478"/>
          <ac:spMkLst>
            <pc:docMk/>
            <pc:sldMk cId="3599553689" sldId="2147307485"/>
            <ac:spMk id="155" creationId="{924B783C-3028-45F3-9E2E-C2D4DF735EFA}"/>
          </ac:spMkLst>
        </pc:spChg>
        <pc:spChg chg="mod">
          <ac:chgData name="Ajwaliya, Nishit" userId="d6171631-3d08-453d-8afd-2dc62a5026e2" providerId="ADAL" clId="{678AD243-71C4-4A17-8592-AF5CDCD65377}" dt="2021-05-14T18:13:22.428" v="6583" actId="1037"/>
          <ac:spMkLst>
            <pc:docMk/>
            <pc:sldMk cId="3599553689" sldId="2147307485"/>
            <ac:spMk id="156" creationId="{E956FF74-B566-4CE5-8937-63FE00ED0A85}"/>
          </ac:spMkLst>
        </pc:spChg>
        <pc:spChg chg="del">
          <ac:chgData name="Ajwaliya, Nishit" userId="d6171631-3d08-453d-8afd-2dc62a5026e2" providerId="ADAL" clId="{678AD243-71C4-4A17-8592-AF5CDCD65377}" dt="2021-05-14T17:37:00.850" v="5813" actId="478"/>
          <ac:spMkLst>
            <pc:docMk/>
            <pc:sldMk cId="3599553689" sldId="2147307485"/>
            <ac:spMk id="157" creationId="{2F3507E7-F42C-46BA-9FAD-8716688891F1}"/>
          </ac:spMkLst>
        </pc:spChg>
        <pc:spChg chg="mod">
          <ac:chgData name="Ajwaliya, Nishit" userId="d6171631-3d08-453d-8afd-2dc62a5026e2" providerId="ADAL" clId="{678AD243-71C4-4A17-8592-AF5CDCD65377}" dt="2021-05-14T18:32:48.176" v="6795" actId="1038"/>
          <ac:spMkLst>
            <pc:docMk/>
            <pc:sldMk cId="3599553689" sldId="2147307485"/>
            <ac:spMk id="158" creationId="{DB3F1DAB-9400-4E1D-87A4-6BC8AFEA5030}"/>
          </ac:spMkLst>
        </pc:spChg>
        <pc:spChg chg="mod">
          <ac:chgData name="Ajwaliya, Nishit" userId="d6171631-3d08-453d-8afd-2dc62a5026e2" providerId="ADAL" clId="{678AD243-71C4-4A17-8592-AF5CDCD65377}" dt="2021-05-14T18:32:52.772" v="6799" actId="1038"/>
          <ac:spMkLst>
            <pc:docMk/>
            <pc:sldMk cId="3599553689" sldId="2147307485"/>
            <ac:spMk id="159" creationId="{12FDE791-4AB9-4DF0-A135-93DF6AAB64C2}"/>
          </ac:spMkLst>
        </pc:spChg>
        <pc:spChg chg="add mod">
          <ac:chgData name="Ajwaliya, Nishit" userId="d6171631-3d08-453d-8afd-2dc62a5026e2" providerId="ADAL" clId="{678AD243-71C4-4A17-8592-AF5CDCD65377}" dt="2021-06-29T21:37:30.315" v="10252" actId="1038"/>
          <ac:spMkLst>
            <pc:docMk/>
            <pc:sldMk cId="3599553689" sldId="2147307485"/>
            <ac:spMk id="160" creationId="{AAF8571B-789D-482A-B5DF-EE912595D76C}"/>
          </ac:spMkLst>
        </pc:spChg>
        <pc:spChg chg="add mod">
          <ac:chgData name="Ajwaliya, Nishit" userId="d6171631-3d08-453d-8afd-2dc62a5026e2" providerId="ADAL" clId="{678AD243-71C4-4A17-8592-AF5CDCD65377}" dt="2021-06-29T21:37:30.315" v="10252" actId="1038"/>
          <ac:spMkLst>
            <pc:docMk/>
            <pc:sldMk cId="3599553689" sldId="2147307485"/>
            <ac:spMk id="161" creationId="{3A1FCBC1-C141-4737-BB10-C5C5B3F4B9D8}"/>
          </ac:spMkLst>
        </pc:spChg>
        <pc:spChg chg="add del mod">
          <ac:chgData name="Ajwaliya, Nishit" userId="d6171631-3d08-453d-8afd-2dc62a5026e2" providerId="ADAL" clId="{678AD243-71C4-4A17-8592-AF5CDCD65377}" dt="2021-05-14T17:53:56.833" v="6245" actId="478"/>
          <ac:spMkLst>
            <pc:docMk/>
            <pc:sldMk cId="3599553689" sldId="2147307485"/>
            <ac:spMk id="162" creationId="{01322441-3BB5-40F3-BF3D-A4BFC3704FBC}"/>
          </ac:spMkLst>
        </pc:spChg>
        <pc:spChg chg="add mod">
          <ac:chgData name="Ajwaliya, Nishit" userId="d6171631-3d08-453d-8afd-2dc62a5026e2" providerId="ADAL" clId="{678AD243-71C4-4A17-8592-AF5CDCD65377}" dt="2021-05-14T21:20:27.142" v="7245" actId="14100"/>
          <ac:spMkLst>
            <pc:docMk/>
            <pc:sldMk cId="3599553689" sldId="2147307485"/>
            <ac:spMk id="163" creationId="{11BDE88A-3874-4FF2-B83B-47389ACBD7A0}"/>
          </ac:spMkLst>
        </pc:spChg>
        <pc:spChg chg="add mod">
          <ac:chgData name="Ajwaliya, Nishit" userId="d6171631-3d08-453d-8afd-2dc62a5026e2" providerId="ADAL" clId="{678AD243-71C4-4A17-8592-AF5CDCD65377}" dt="2021-05-14T21:21:32.078" v="7271" actId="108"/>
          <ac:spMkLst>
            <pc:docMk/>
            <pc:sldMk cId="3599553689" sldId="2147307485"/>
            <ac:spMk id="164" creationId="{EE9A6AF4-9076-4C49-8293-E76B7CE797C7}"/>
          </ac:spMkLst>
        </pc:spChg>
        <pc:spChg chg="add mod">
          <ac:chgData name="Ajwaliya, Nishit" userId="d6171631-3d08-453d-8afd-2dc62a5026e2" providerId="ADAL" clId="{678AD243-71C4-4A17-8592-AF5CDCD65377}" dt="2021-05-14T18:09:07.066" v="6514" actId="14100"/>
          <ac:spMkLst>
            <pc:docMk/>
            <pc:sldMk cId="3599553689" sldId="2147307485"/>
            <ac:spMk id="165" creationId="{AC7D2485-3CED-4912-8430-C99C986B02E4}"/>
          </ac:spMkLst>
        </pc:spChg>
        <pc:spChg chg="add del mod">
          <ac:chgData name="Ajwaliya, Nishit" userId="d6171631-3d08-453d-8afd-2dc62a5026e2" providerId="ADAL" clId="{678AD243-71C4-4A17-8592-AF5CDCD65377}" dt="2021-05-14T18:18:40.730" v="6747" actId="478"/>
          <ac:spMkLst>
            <pc:docMk/>
            <pc:sldMk cId="3599553689" sldId="2147307485"/>
            <ac:spMk id="166" creationId="{CB2AEDAF-6068-4F6D-9866-98C3D995B0D3}"/>
          </ac:spMkLst>
        </pc:spChg>
        <pc:spChg chg="add mod">
          <ac:chgData name="Ajwaliya, Nishit" userId="d6171631-3d08-453d-8afd-2dc62a5026e2" providerId="ADAL" clId="{678AD243-71C4-4A17-8592-AF5CDCD65377}" dt="2021-06-29T21:37:30.315" v="10252" actId="1038"/>
          <ac:spMkLst>
            <pc:docMk/>
            <pc:sldMk cId="3599553689" sldId="2147307485"/>
            <ac:spMk id="167" creationId="{8C240826-564F-42AC-9A47-11847D6C6CD2}"/>
          </ac:spMkLst>
        </pc:spChg>
        <pc:spChg chg="add mod">
          <ac:chgData name="Ajwaliya, Nishit" userId="d6171631-3d08-453d-8afd-2dc62a5026e2" providerId="ADAL" clId="{678AD243-71C4-4A17-8592-AF5CDCD65377}" dt="2021-06-29T21:37:38.283" v="10265" actId="1038"/>
          <ac:spMkLst>
            <pc:docMk/>
            <pc:sldMk cId="3599553689" sldId="2147307485"/>
            <ac:spMk id="168" creationId="{2FACA65B-24F0-4B14-9AEA-B5AADC963217}"/>
          </ac:spMkLst>
        </pc:spChg>
        <pc:spChg chg="add mod">
          <ac:chgData name="Ajwaliya, Nishit" userId="d6171631-3d08-453d-8afd-2dc62a5026e2" providerId="ADAL" clId="{678AD243-71C4-4A17-8592-AF5CDCD65377}" dt="2021-06-29T21:37:30.315" v="10252" actId="1038"/>
          <ac:spMkLst>
            <pc:docMk/>
            <pc:sldMk cId="3599553689" sldId="2147307485"/>
            <ac:spMk id="169" creationId="{7A0721C8-8716-45B4-BEF8-1A1F3ED22948}"/>
          </ac:spMkLst>
        </pc:spChg>
      </pc:sldChg>
      <pc:sldChg chg="addSp delSp modSp add">
        <pc:chgData name="Ajwaliya, Nishit" userId="d6171631-3d08-453d-8afd-2dc62a5026e2" providerId="ADAL" clId="{678AD243-71C4-4A17-8592-AF5CDCD65377}" dt="2021-07-01T16:02:42.886" v="12013" actId="1035"/>
        <pc:sldMkLst>
          <pc:docMk/>
          <pc:sldMk cId="503711225" sldId="2147307517"/>
        </pc:sldMkLst>
        <pc:spChg chg="mod">
          <ac:chgData name="Ajwaliya, Nishit" userId="d6171631-3d08-453d-8afd-2dc62a5026e2" providerId="ADAL" clId="{678AD243-71C4-4A17-8592-AF5CDCD65377}" dt="2021-06-30T13:40:28.730" v="11109" actId="20577"/>
          <ac:spMkLst>
            <pc:docMk/>
            <pc:sldMk cId="503711225" sldId="2147307517"/>
            <ac:spMk id="2" creationId="{00000000-0000-0000-0000-000000000000}"/>
          </ac:spMkLst>
        </pc:spChg>
        <pc:spChg chg="add del">
          <ac:chgData name="Ajwaliya, Nishit" userId="d6171631-3d08-453d-8afd-2dc62a5026e2" providerId="ADAL" clId="{678AD243-71C4-4A17-8592-AF5CDCD65377}" dt="2021-06-30T14:51:42.608" v="11111"/>
          <ac:spMkLst>
            <pc:docMk/>
            <pc:sldMk cId="503711225" sldId="2147307517"/>
            <ac:spMk id="3" creationId="{A19EBADD-C359-416C-988E-6AE5FD6A1BD1}"/>
          </ac:spMkLst>
        </pc:spChg>
        <pc:spChg chg="mod">
          <ac:chgData name="Ajwaliya, Nishit" userId="d6171631-3d08-453d-8afd-2dc62a5026e2" providerId="ADAL" clId="{678AD243-71C4-4A17-8592-AF5CDCD65377}" dt="2021-05-18T20:44:07.728" v="7396" actId="1037"/>
          <ac:spMkLst>
            <pc:docMk/>
            <pc:sldMk cId="503711225" sldId="2147307517"/>
            <ac:spMk id="4" creationId="{C82BD644-BA6F-4D4D-875A-8ED947EAA3C4}"/>
          </ac:spMkLst>
        </pc:spChg>
        <pc:spChg chg="mod">
          <ac:chgData name="Ajwaliya, Nishit" userId="d6171631-3d08-453d-8afd-2dc62a5026e2" providerId="ADAL" clId="{678AD243-71C4-4A17-8592-AF5CDCD65377}" dt="2021-05-18T20:44:07.728" v="7396" actId="1037"/>
          <ac:spMkLst>
            <pc:docMk/>
            <pc:sldMk cId="503711225" sldId="2147307517"/>
            <ac:spMk id="12" creationId="{B092BEBC-5A2A-4BEA-9E76-C7FFA01694AA}"/>
          </ac:spMkLst>
        </pc:spChg>
        <pc:spChg chg="mod">
          <ac:chgData name="Ajwaliya, Nishit" userId="d6171631-3d08-453d-8afd-2dc62a5026e2" providerId="ADAL" clId="{678AD243-71C4-4A17-8592-AF5CDCD65377}" dt="2021-05-18T20:44:07.728" v="7396" actId="1037"/>
          <ac:spMkLst>
            <pc:docMk/>
            <pc:sldMk cId="503711225" sldId="2147307517"/>
            <ac:spMk id="21" creationId="{6B8B46E2-54AE-4714-9D72-F957C9648596}"/>
          </ac:spMkLst>
        </pc:spChg>
        <pc:spChg chg="add mod">
          <ac:chgData name="Ajwaliya, Nishit" userId="d6171631-3d08-453d-8afd-2dc62a5026e2" providerId="ADAL" clId="{678AD243-71C4-4A17-8592-AF5CDCD65377}" dt="2021-06-30T16:24:59.107" v="11650" actId="1038"/>
          <ac:spMkLst>
            <pc:docMk/>
            <pc:sldMk cId="503711225" sldId="2147307517"/>
            <ac:spMk id="65" creationId="{318BF746-D146-4CD5-A310-7E4A47C9192B}"/>
          </ac:spMkLst>
        </pc:spChg>
        <pc:spChg chg="add mod">
          <ac:chgData name="Ajwaliya, Nishit" userId="d6171631-3d08-453d-8afd-2dc62a5026e2" providerId="ADAL" clId="{678AD243-71C4-4A17-8592-AF5CDCD65377}" dt="2021-06-30T13:36:04.466" v="10931" actId="1035"/>
          <ac:spMkLst>
            <pc:docMk/>
            <pc:sldMk cId="503711225" sldId="2147307517"/>
            <ac:spMk id="66" creationId="{1E1EC145-9A32-4B2F-BEE3-767052F6A6D6}"/>
          </ac:spMkLst>
        </pc:spChg>
        <pc:spChg chg="add mod">
          <ac:chgData name="Ajwaliya, Nishit" userId="d6171631-3d08-453d-8afd-2dc62a5026e2" providerId="ADAL" clId="{678AD243-71C4-4A17-8592-AF5CDCD65377}" dt="2021-06-30T13:40:22.534" v="11105" actId="1037"/>
          <ac:spMkLst>
            <pc:docMk/>
            <pc:sldMk cId="503711225" sldId="2147307517"/>
            <ac:spMk id="67" creationId="{F3E20E6A-A7AB-4950-8ED9-38029DB90DCA}"/>
          </ac:spMkLst>
        </pc:spChg>
        <pc:spChg chg="add mod">
          <ac:chgData name="Ajwaliya, Nishit" userId="d6171631-3d08-453d-8afd-2dc62a5026e2" providerId="ADAL" clId="{678AD243-71C4-4A17-8592-AF5CDCD65377}" dt="2021-07-01T16:02:42.886" v="12013" actId="1035"/>
          <ac:spMkLst>
            <pc:docMk/>
            <pc:sldMk cId="503711225" sldId="2147307517"/>
            <ac:spMk id="69" creationId="{EA4025EF-A2A9-4C17-95F4-2282F4A335B4}"/>
          </ac:spMkLst>
        </pc:spChg>
        <pc:spChg chg="add del mod">
          <ac:chgData name="Ajwaliya, Nishit" userId="d6171631-3d08-453d-8afd-2dc62a5026e2" providerId="ADAL" clId="{678AD243-71C4-4A17-8592-AF5CDCD65377}" dt="2021-06-30T16:25:24.239" v="11651" actId="478"/>
          <ac:spMkLst>
            <pc:docMk/>
            <pc:sldMk cId="503711225" sldId="2147307517"/>
            <ac:spMk id="70" creationId="{E506EE39-1583-420D-97A8-F0ED0F76E2B7}"/>
          </ac:spMkLst>
        </pc:spChg>
        <pc:spChg chg="add mod">
          <ac:chgData name="Ajwaliya, Nishit" userId="d6171631-3d08-453d-8afd-2dc62a5026e2" providerId="ADAL" clId="{678AD243-71C4-4A17-8592-AF5CDCD65377}" dt="2021-06-30T16:25:36.204" v="11736" actId="1038"/>
          <ac:spMkLst>
            <pc:docMk/>
            <pc:sldMk cId="503711225" sldId="2147307517"/>
            <ac:spMk id="71" creationId="{5788C955-71B3-463B-ACB9-260DE9ED0FDE}"/>
          </ac:spMkLst>
        </pc:spChg>
        <pc:spChg chg="add mod">
          <ac:chgData name="Ajwaliya, Nishit" userId="d6171631-3d08-453d-8afd-2dc62a5026e2" providerId="ADAL" clId="{678AD243-71C4-4A17-8592-AF5CDCD65377}" dt="2021-06-30T16:26:20.375" v="11889" actId="1037"/>
          <ac:spMkLst>
            <pc:docMk/>
            <pc:sldMk cId="503711225" sldId="2147307517"/>
            <ac:spMk id="72" creationId="{CBE216C4-1A73-4E75-B063-3FEB18595E5F}"/>
          </ac:spMkLst>
        </pc:spChg>
        <pc:spChg chg="mod">
          <ac:chgData name="Ajwaliya, Nishit" userId="d6171631-3d08-453d-8afd-2dc62a5026e2" providerId="ADAL" clId="{678AD243-71C4-4A17-8592-AF5CDCD65377}" dt="2021-05-18T20:44:07.728" v="7396" actId="1037"/>
          <ac:spMkLst>
            <pc:docMk/>
            <pc:sldMk cId="503711225" sldId="2147307517"/>
            <ac:spMk id="73" creationId="{6BB3F9D5-BCAD-46B2-92AC-6E0FFBFE7564}"/>
          </ac:spMkLst>
        </pc:spChg>
        <pc:spChg chg="mod">
          <ac:chgData name="Ajwaliya, Nishit" userId="d6171631-3d08-453d-8afd-2dc62a5026e2" providerId="ADAL" clId="{678AD243-71C4-4A17-8592-AF5CDCD65377}" dt="2021-07-01T16:02:42.886" v="12013" actId="1035"/>
          <ac:spMkLst>
            <pc:docMk/>
            <pc:sldMk cId="503711225" sldId="2147307517"/>
            <ac:spMk id="74" creationId="{72FFC861-8970-4E27-8BF5-5A4118C05912}"/>
          </ac:spMkLst>
        </pc:spChg>
        <pc:spChg chg="mod">
          <ac:chgData name="Ajwaliya, Nishit" userId="d6171631-3d08-453d-8afd-2dc62a5026e2" providerId="ADAL" clId="{678AD243-71C4-4A17-8592-AF5CDCD65377}" dt="2021-07-01T16:02:42.886" v="12013" actId="1035"/>
          <ac:spMkLst>
            <pc:docMk/>
            <pc:sldMk cId="503711225" sldId="2147307517"/>
            <ac:spMk id="75" creationId="{BA6BED3E-ED01-454A-B2F7-E59E3ED3E2B6}"/>
          </ac:spMkLst>
        </pc:spChg>
        <pc:spChg chg="mod">
          <ac:chgData name="Ajwaliya, Nishit" userId="d6171631-3d08-453d-8afd-2dc62a5026e2" providerId="ADAL" clId="{678AD243-71C4-4A17-8592-AF5CDCD65377}" dt="2021-05-18T20:44:07.728" v="7396" actId="1037"/>
          <ac:spMkLst>
            <pc:docMk/>
            <pc:sldMk cId="503711225" sldId="2147307517"/>
            <ac:spMk id="84" creationId="{FE3919DE-F826-41AE-B9C7-211AD54AEC51}"/>
          </ac:spMkLst>
        </pc:spChg>
        <pc:spChg chg="mod">
          <ac:chgData name="Ajwaliya, Nishit" userId="d6171631-3d08-453d-8afd-2dc62a5026e2" providerId="ADAL" clId="{678AD243-71C4-4A17-8592-AF5CDCD65377}" dt="2021-05-18T20:44:07.728" v="7396" actId="1037"/>
          <ac:spMkLst>
            <pc:docMk/>
            <pc:sldMk cId="503711225" sldId="2147307517"/>
            <ac:spMk id="93" creationId="{92F0B843-4295-4BE3-8391-F7B4BF851785}"/>
          </ac:spMkLst>
        </pc:spChg>
        <pc:spChg chg="mod">
          <ac:chgData name="Ajwaliya, Nishit" userId="d6171631-3d08-453d-8afd-2dc62a5026e2" providerId="ADAL" clId="{678AD243-71C4-4A17-8592-AF5CDCD65377}" dt="2021-05-18T20:44:07.728" v="7396" actId="1037"/>
          <ac:spMkLst>
            <pc:docMk/>
            <pc:sldMk cId="503711225" sldId="2147307517"/>
            <ac:spMk id="94" creationId="{9E15884B-85B4-462D-87D3-DCBE6AFCECE8}"/>
          </ac:spMkLst>
        </pc:spChg>
        <pc:spChg chg="mod">
          <ac:chgData name="Ajwaliya, Nishit" userId="d6171631-3d08-453d-8afd-2dc62a5026e2" providerId="ADAL" clId="{678AD243-71C4-4A17-8592-AF5CDCD65377}" dt="2021-05-18T20:44:07.728" v="7396" actId="1037"/>
          <ac:spMkLst>
            <pc:docMk/>
            <pc:sldMk cId="503711225" sldId="2147307517"/>
            <ac:spMk id="95" creationId="{137E58AD-206D-452F-AEF3-40DCA0D3D13C}"/>
          </ac:spMkLst>
        </pc:spChg>
        <pc:spChg chg="mod">
          <ac:chgData name="Ajwaliya, Nishit" userId="d6171631-3d08-453d-8afd-2dc62a5026e2" providerId="ADAL" clId="{678AD243-71C4-4A17-8592-AF5CDCD65377}" dt="2021-05-18T20:44:07.728" v="7396" actId="1037"/>
          <ac:spMkLst>
            <pc:docMk/>
            <pc:sldMk cId="503711225" sldId="2147307517"/>
            <ac:spMk id="96" creationId="{6F13A810-617B-4AFB-935A-158425E321F5}"/>
          </ac:spMkLst>
        </pc:spChg>
        <pc:spChg chg="mod">
          <ac:chgData name="Ajwaliya, Nishit" userId="d6171631-3d08-453d-8afd-2dc62a5026e2" providerId="ADAL" clId="{678AD243-71C4-4A17-8592-AF5CDCD65377}" dt="2021-05-18T20:44:07.728" v="7396" actId="1037"/>
          <ac:spMkLst>
            <pc:docMk/>
            <pc:sldMk cId="503711225" sldId="2147307517"/>
            <ac:spMk id="97" creationId="{156700F9-AD67-4C89-BC9D-EC7A995EE2D9}"/>
          </ac:spMkLst>
        </pc:spChg>
        <pc:spChg chg="mod">
          <ac:chgData name="Ajwaliya, Nishit" userId="d6171631-3d08-453d-8afd-2dc62a5026e2" providerId="ADAL" clId="{678AD243-71C4-4A17-8592-AF5CDCD65377}" dt="2021-05-18T20:44:07.728" v="7396" actId="1037"/>
          <ac:spMkLst>
            <pc:docMk/>
            <pc:sldMk cId="503711225" sldId="2147307517"/>
            <ac:spMk id="99" creationId="{B477EEB2-5DF2-407F-AAB7-97D128228736}"/>
          </ac:spMkLst>
        </pc:spChg>
        <pc:spChg chg="mod">
          <ac:chgData name="Ajwaliya, Nishit" userId="d6171631-3d08-453d-8afd-2dc62a5026e2" providerId="ADAL" clId="{678AD243-71C4-4A17-8592-AF5CDCD65377}" dt="2021-05-18T20:44:07.728" v="7396" actId="1037"/>
          <ac:spMkLst>
            <pc:docMk/>
            <pc:sldMk cId="503711225" sldId="2147307517"/>
            <ac:spMk id="101" creationId="{7B104B4E-87C7-4BE8-877F-567CD5DFD1B2}"/>
          </ac:spMkLst>
        </pc:spChg>
        <pc:spChg chg="mod">
          <ac:chgData name="Ajwaliya, Nishit" userId="d6171631-3d08-453d-8afd-2dc62a5026e2" providerId="ADAL" clId="{678AD243-71C4-4A17-8592-AF5CDCD65377}" dt="2021-05-18T20:44:07.728" v="7396" actId="1037"/>
          <ac:spMkLst>
            <pc:docMk/>
            <pc:sldMk cId="503711225" sldId="2147307517"/>
            <ac:spMk id="103" creationId="{9400DDA7-588E-441B-BB12-81B104B7FAB4}"/>
          </ac:spMkLst>
        </pc:spChg>
        <pc:spChg chg="mod">
          <ac:chgData name="Ajwaliya, Nishit" userId="d6171631-3d08-453d-8afd-2dc62a5026e2" providerId="ADAL" clId="{678AD243-71C4-4A17-8592-AF5CDCD65377}" dt="2021-05-18T20:44:07.728" v="7396" actId="1037"/>
          <ac:spMkLst>
            <pc:docMk/>
            <pc:sldMk cId="503711225" sldId="2147307517"/>
            <ac:spMk id="104" creationId="{60F34340-F055-41A8-AE0C-E0FF68FDABFB}"/>
          </ac:spMkLst>
        </pc:spChg>
        <pc:spChg chg="mod">
          <ac:chgData name="Ajwaliya, Nishit" userId="d6171631-3d08-453d-8afd-2dc62a5026e2" providerId="ADAL" clId="{678AD243-71C4-4A17-8592-AF5CDCD65377}" dt="2021-05-18T20:44:07.728" v="7396" actId="1037"/>
          <ac:spMkLst>
            <pc:docMk/>
            <pc:sldMk cId="503711225" sldId="2147307517"/>
            <ac:spMk id="105" creationId="{C5E097C8-60DA-4324-8414-6F0BC5A4FCB8}"/>
          </ac:spMkLst>
        </pc:spChg>
        <pc:spChg chg="mod">
          <ac:chgData name="Ajwaliya, Nishit" userId="d6171631-3d08-453d-8afd-2dc62a5026e2" providerId="ADAL" clId="{678AD243-71C4-4A17-8592-AF5CDCD65377}" dt="2021-05-18T20:44:07.728" v="7396" actId="1037"/>
          <ac:spMkLst>
            <pc:docMk/>
            <pc:sldMk cId="503711225" sldId="2147307517"/>
            <ac:spMk id="106" creationId="{BDC1F17C-708C-4993-83F4-1C5920133BAA}"/>
          </ac:spMkLst>
        </pc:spChg>
        <pc:spChg chg="mod">
          <ac:chgData name="Ajwaliya, Nishit" userId="d6171631-3d08-453d-8afd-2dc62a5026e2" providerId="ADAL" clId="{678AD243-71C4-4A17-8592-AF5CDCD65377}" dt="2021-05-18T20:44:07.728" v="7396" actId="1037"/>
          <ac:spMkLst>
            <pc:docMk/>
            <pc:sldMk cId="503711225" sldId="2147307517"/>
            <ac:spMk id="107" creationId="{D1FD521A-580D-44FD-B5D8-9B260A592717}"/>
          </ac:spMkLst>
        </pc:spChg>
        <pc:spChg chg="mod">
          <ac:chgData name="Ajwaliya, Nishit" userId="d6171631-3d08-453d-8afd-2dc62a5026e2" providerId="ADAL" clId="{678AD243-71C4-4A17-8592-AF5CDCD65377}" dt="2021-05-18T20:44:07.728" v="7396" actId="1037"/>
          <ac:spMkLst>
            <pc:docMk/>
            <pc:sldMk cId="503711225" sldId="2147307517"/>
            <ac:spMk id="108" creationId="{963F7880-E826-4ECD-8D51-8BF988D8376F}"/>
          </ac:spMkLst>
        </pc:spChg>
        <pc:spChg chg="mod">
          <ac:chgData name="Ajwaliya, Nishit" userId="d6171631-3d08-453d-8afd-2dc62a5026e2" providerId="ADAL" clId="{678AD243-71C4-4A17-8592-AF5CDCD65377}" dt="2021-06-30T16:27:23.980" v="11930" actId="14100"/>
          <ac:spMkLst>
            <pc:docMk/>
            <pc:sldMk cId="503711225" sldId="2147307517"/>
            <ac:spMk id="112" creationId="{808FCA89-E37B-4EE2-AD22-EBC87F4574BF}"/>
          </ac:spMkLst>
        </pc:spChg>
        <pc:spChg chg="mod">
          <ac:chgData name="Ajwaliya, Nishit" userId="d6171631-3d08-453d-8afd-2dc62a5026e2" providerId="ADAL" clId="{678AD243-71C4-4A17-8592-AF5CDCD65377}" dt="2021-05-18T20:44:07.728" v="7396" actId="1037"/>
          <ac:spMkLst>
            <pc:docMk/>
            <pc:sldMk cId="503711225" sldId="2147307517"/>
            <ac:spMk id="114" creationId="{30BA6E02-D850-460C-8910-5510EDF1D460}"/>
          </ac:spMkLst>
        </pc:spChg>
        <pc:spChg chg="mod">
          <ac:chgData name="Ajwaliya, Nishit" userId="d6171631-3d08-453d-8afd-2dc62a5026e2" providerId="ADAL" clId="{678AD243-71C4-4A17-8592-AF5CDCD65377}" dt="2021-05-18T20:44:07.728" v="7396" actId="1037"/>
          <ac:spMkLst>
            <pc:docMk/>
            <pc:sldMk cId="503711225" sldId="2147307517"/>
            <ac:spMk id="115" creationId="{560032BB-AA3F-4FE2-8E63-7B804E341777}"/>
          </ac:spMkLst>
        </pc:spChg>
        <pc:spChg chg="mod">
          <ac:chgData name="Ajwaliya, Nishit" userId="d6171631-3d08-453d-8afd-2dc62a5026e2" providerId="ADAL" clId="{678AD243-71C4-4A17-8592-AF5CDCD65377}" dt="2021-05-18T20:44:07.728" v="7396" actId="1037"/>
          <ac:spMkLst>
            <pc:docMk/>
            <pc:sldMk cId="503711225" sldId="2147307517"/>
            <ac:spMk id="116" creationId="{9EE6487C-56DF-4063-9381-5F5218B332A6}"/>
          </ac:spMkLst>
        </pc:spChg>
        <pc:spChg chg="mod">
          <ac:chgData name="Ajwaliya, Nishit" userId="d6171631-3d08-453d-8afd-2dc62a5026e2" providerId="ADAL" clId="{678AD243-71C4-4A17-8592-AF5CDCD65377}" dt="2021-05-18T20:44:07.728" v="7396" actId="1037"/>
          <ac:spMkLst>
            <pc:docMk/>
            <pc:sldMk cId="503711225" sldId="2147307517"/>
            <ac:spMk id="118" creationId="{F8D4317F-A821-45CA-84C0-CD77F9BFD156}"/>
          </ac:spMkLst>
        </pc:spChg>
        <pc:spChg chg="mod">
          <ac:chgData name="Ajwaliya, Nishit" userId="d6171631-3d08-453d-8afd-2dc62a5026e2" providerId="ADAL" clId="{678AD243-71C4-4A17-8592-AF5CDCD65377}" dt="2021-05-18T20:44:07.728" v="7396" actId="1037"/>
          <ac:spMkLst>
            <pc:docMk/>
            <pc:sldMk cId="503711225" sldId="2147307517"/>
            <ac:spMk id="121" creationId="{98D86FF9-F7FE-42B0-B5A6-0EE80D55CAC4}"/>
          </ac:spMkLst>
        </pc:spChg>
        <pc:spChg chg="mod">
          <ac:chgData name="Ajwaliya, Nishit" userId="d6171631-3d08-453d-8afd-2dc62a5026e2" providerId="ADAL" clId="{678AD243-71C4-4A17-8592-AF5CDCD65377}" dt="2021-05-18T20:44:07.728" v="7396" actId="1037"/>
          <ac:spMkLst>
            <pc:docMk/>
            <pc:sldMk cId="503711225" sldId="2147307517"/>
            <ac:spMk id="122" creationId="{4D759E51-1F48-4C05-B5D8-8CED5FA0E4DD}"/>
          </ac:spMkLst>
        </pc:spChg>
        <pc:spChg chg="mod">
          <ac:chgData name="Ajwaliya, Nishit" userId="d6171631-3d08-453d-8afd-2dc62a5026e2" providerId="ADAL" clId="{678AD243-71C4-4A17-8592-AF5CDCD65377}" dt="2021-05-18T20:44:07.728" v="7396" actId="1037"/>
          <ac:spMkLst>
            <pc:docMk/>
            <pc:sldMk cId="503711225" sldId="2147307517"/>
            <ac:spMk id="123" creationId="{D4D677B2-2CBE-4D39-9995-A9E888524472}"/>
          </ac:spMkLst>
        </pc:spChg>
        <pc:spChg chg="mod">
          <ac:chgData name="Ajwaliya, Nishit" userId="d6171631-3d08-453d-8afd-2dc62a5026e2" providerId="ADAL" clId="{678AD243-71C4-4A17-8592-AF5CDCD65377}" dt="2021-05-18T20:44:07.728" v="7396" actId="1037"/>
          <ac:spMkLst>
            <pc:docMk/>
            <pc:sldMk cId="503711225" sldId="2147307517"/>
            <ac:spMk id="124" creationId="{42FD51E4-BDCA-4378-86D2-F53C42252217}"/>
          </ac:spMkLst>
        </pc:spChg>
        <pc:spChg chg="mod">
          <ac:chgData name="Ajwaliya, Nishit" userId="d6171631-3d08-453d-8afd-2dc62a5026e2" providerId="ADAL" clId="{678AD243-71C4-4A17-8592-AF5CDCD65377}" dt="2021-06-30T13:35:30.992" v="10800" actId="1037"/>
          <ac:spMkLst>
            <pc:docMk/>
            <pc:sldMk cId="503711225" sldId="2147307517"/>
            <ac:spMk id="125" creationId="{C2962730-E4D5-4F7E-9B6C-A2C633632108}"/>
          </ac:spMkLst>
        </pc:spChg>
        <pc:spChg chg="mod">
          <ac:chgData name="Ajwaliya, Nishit" userId="d6171631-3d08-453d-8afd-2dc62a5026e2" providerId="ADAL" clId="{678AD243-71C4-4A17-8592-AF5CDCD65377}" dt="2021-05-18T20:44:07.728" v="7396" actId="1037"/>
          <ac:spMkLst>
            <pc:docMk/>
            <pc:sldMk cId="503711225" sldId="2147307517"/>
            <ac:spMk id="126" creationId="{467B43A5-19E7-4482-AC07-23FDF9EE7F9F}"/>
          </ac:spMkLst>
        </pc:spChg>
        <pc:spChg chg="mod">
          <ac:chgData name="Ajwaliya, Nishit" userId="d6171631-3d08-453d-8afd-2dc62a5026e2" providerId="ADAL" clId="{678AD243-71C4-4A17-8592-AF5CDCD65377}" dt="2021-05-18T20:44:07.728" v="7396" actId="1037"/>
          <ac:spMkLst>
            <pc:docMk/>
            <pc:sldMk cId="503711225" sldId="2147307517"/>
            <ac:spMk id="128" creationId="{A9E413A9-9902-4EB2-A80B-CBD4E5F568D6}"/>
          </ac:spMkLst>
        </pc:spChg>
        <pc:spChg chg="mod">
          <ac:chgData name="Ajwaliya, Nishit" userId="d6171631-3d08-453d-8afd-2dc62a5026e2" providerId="ADAL" clId="{678AD243-71C4-4A17-8592-AF5CDCD65377}" dt="2021-05-18T20:44:07.728" v="7396" actId="1037"/>
          <ac:spMkLst>
            <pc:docMk/>
            <pc:sldMk cId="503711225" sldId="2147307517"/>
            <ac:spMk id="129" creationId="{064317E9-FCA6-430B-B978-EE9E34F1F2B4}"/>
          </ac:spMkLst>
        </pc:spChg>
        <pc:spChg chg="mod">
          <ac:chgData name="Ajwaliya, Nishit" userId="d6171631-3d08-453d-8afd-2dc62a5026e2" providerId="ADAL" clId="{678AD243-71C4-4A17-8592-AF5CDCD65377}" dt="2021-05-18T20:44:07.728" v="7396" actId="1037"/>
          <ac:spMkLst>
            <pc:docMk/>
            <pc:sldMk cId="503711225" sldId="2147307517"/>
            <ac:spMk id="130" creationId="{8DCF4ADE-2C9F-4465-B7A9-9BC995F5FB93}"/>
          </ac:spMkLst>
        </pc:spChg>
        <pc:spChg chg="mod">
          <ac:chgData name="Ajwaliya, Nishit" userId="d6171631-3d08-453d-8afd-2dc62a5026e2" providerId="ADAL" clId="{678AD243-71C4-4A17-8592-AF5CDCD65377}" dt="2021-05-18T20:44:07.728" v="7396" actId="1037"/>
          <ac:spMkLst>
            <pc:docMk/>
            <pc:sldMk cId="503711225" sldId="2147307517"/>
            <ac:spMk id="131" creationId="{95FB95DC-C79A-4318-AC5B-3EA8C351E762}"/>
          </ac:spMkLst>
        </pc:spChg>
        <pc:spChg chg="mod">
          <ac:chgData name="Ajwaliya, Nishit" userId="d6171631-3d08-453d-8afd-2dc62a5026e2" providerId="ADAL" clId="{678AD243-71C4-4A17-8592-AF5CDCD65377}" dt="2021-06-30T16:26:12.634" v="11821" actId="14100"/>
          <ac:spMkLst>
            <pc:docMk/>
            <pc:sldMk cId="503711225" sldId="2147307517"/>
            <ac:spMk id="133" creationId="{0E5438D7-92EE-4734-A822-5C1C9CC70CB3}"/>
          </ac:spMkLst>
        </pc:spChg>
        <pc:spChg chg="mod">
          <ac:chgData name="Ajwaliya, Nishit" userId="d6171631-3d08-453d-8afd-2dc62a5026e2" providerId="ADAL" clId="{678AD243-71C4-4A17-8592-AF5CDCD65377}" dt="2021-05-18T20:44:07.728" v="7396" actId="1037"/>
          <ac:spMkLst>
            <pc:docMk/>
            <pc:sldMk cId="503711225" sldId="2147307517"/>
            <ac:spMk id="134" creationId="{89E35DD5-149C-4900-971C-78C96EA4ED12}"/>
          </ac:spMkLst>
        </pc:spChg>
        <pc:spChg chg="mod">
          <ac:chgData name="Ajwaliya, Nishit" userId="d6171631-3d08-453d-8afd-2dc62a5026e2" providerId="ADAL" clId="{678AD243-71C4-4A17-8592-AF5CDCD65377}" dt="2021-06-30T13:34:14.234" v="10598" actId="1038"/>
          <ac:spMkLst>
            <pc:docMk/>
            <pc:sldMk cId="503711225" sldId="2147307517"/>
            <ac:spMk id="135" creationId="{9966932F-4719-485F-8127-32B35ADD7C18}"/>
          </ac:spMkLst>
        </pc:spChg>
        <pc:spChg chg="mod">
          <ac:chgData name="Ajwaliya, Nishit" userId="d6171631-3d08-453d-8afd-2dc62a5026e2" providerId="ADAL" clId="{678AD243-71C4-4A17-8592-AF5CDCD65377}" dt="2021-05-18T20:52:13.329" v="7398" actId="1076"/>
          <ac:spMkLst>
            <pc:docMk/>
            <pc:sldMk cId="503711225" sldId="2147307517"/>
            <ac:spMk id="137" creationId="{077CF3E7-E9C9-48FA-B89F-0C52F2AFBF29}"/>
          </ac:spMkLst>
        </pc:spChg>
        <pc:spChg chg="del mod">
          <ac:chgData name="Ajwaliya, Nishit" userId="d6171631-3d08-453d-8afd-2dc62a5026e2" providerId="ADAL" clId="{678AD243-71C4-4A17-8592-AF5CDCD65377}" dt="2021-06-30T16:23:07.906" v="11450" actId="478"/>
          <ac:spMkLst>
            <pc:docMk/>
            <pc:sldMk cId="503711225" sldId="2147307517"/>
            <ac:spMk id="138" creationId="{8593D682-B8DA-42B0-AE98-636EFBFE2E20}"/>
          </ac:spMkLst>
        </pc:spChg>
        <pc:spChg chg="mod">
          <ac:chgData name="Ajwaliya, Nishit" userId="d6171631-3d08-453d-8afd-2dc62a5026e2" providerId="ADAL" clId="{678AD243-71C4-4A17-8592-AF5CDCD65377}" dt="2021-05-18T20:44:07.728" v="7396" actId="1037"/>
          <ac:spMkLst>
            <pc:docMk/>
            <pc:sldMk cId="503711225" sldId="2147307517"/>
            <ac:spMk id="139" creationId="{1909513F-05A6-46AC-9338-48DF3740BDD4}"/>
          </ac:spMkLst>
        </pc:spChg>
        <pc:spChg chg="mod">
          <ac:chgData name="Ajwaliya, Nishit" userId="d6171631-3d08-453d-8afd-2dc62a5026e2" providerId="ADAL" clId="{678AD243-71C4-4A17-8592-AF5CDCD65377}" dt="2021-05-18T20:44:07.728" v="7396" actId="1037"/>
          <ac:spMkLst>
            <pc:docMk/>
            <pc:sldMk cId="503711225" sldId="2147307517"/>
            <ac:spMk id="140" creationId="{258E48F5-CA7A-43B9-ACF9-6D5A50CF9022}"/>
          </ac:spMkLst>
        </pc:spChg>
        <pc:spChg chg="mod">
          <ac:chgData name="Ajwaliya, Nishit" userId="d6171631-3d08-453d-8afd-2dc62a5026e2" providerId="ADAL" clId="{678AD243-71C4-4A17-8592-AF5CDCD65377}" dt="2021-05-18T20:44:07.728" v="7396" actId="1037"/>
          <ac:spMkLst>
            <pc:docMk/>
            <pc:sldMk cId="503711225" sldId="2147307517"/>
            <ac:spMk id="141" creationId="{F6E9D527-0901-4E1D-8B24-578F3DF7CE27}"/>
          </ac:spMkLst>
        </pc:spChg>
        <pc:spChg chg="mod">
          <ac:chgData name="Ajwaliya, Nishit" userId="d6171631-3d08-453d-8afd-2dc62a5026e2" providerId="ADAL" clId="{678AD243-71C4-4A17-8592-AF5CDCD65377}" dt="2021-05-18T20:44:07.728" v="7396" actId="1037"/>
          <ac:spMkLst>
            <pc:docMk/>
            <pc:sldMk cId="503711225" sldId="2147307517"/>
            <ac:spMk id="142" creationId="{35CC8503-7F07-4F83-8D21-0494B6618419}"/>
          </ac:spMkLst>
        </pc:spChg>
        <pc:spChg chg="mod">
          <ac:chgData name="Ajwaliya, Nishit" userId="d6171631-3d08-453d-8afd-2dc62a5026e2" providerId="ADAL" clId="{678AD243-71C4-4A17-8592-AF5CDCD65377}" dt="2021-06-30T13:40:16.618" v="11091" actId="1037"/>
          <ac:spMkLst>
            <pc:docMk/>
            <pc:sldMk cId="503711225" sldId="2147307517"/>
            <ac:spMk id="143" creationId="{E16F11E8-C662-45DF-9444-25A7BAED2044}"/>
          </ac:spMkLst>
        </pc:spChg>
        <pc:spChg chg="mod">
          <ac:chgData name="Ajwaliya, Nishit" userId="d6171631-3d08-453d-8afd-2dc62a5026e2" providerId="ADAL" clId="{678AD243-71C4-4A17-8592-AF5CDCD65377}" dt="2021-05-18T20:44:07.728" v="7396" actId="1037"/>
          <ac:spMkLst>
            <pc:docMk/>
            <pc:sldMk cId="503711225" sldId="2147307517"/>
            <ac:spMk id="144" creationId="{6C0C77C7-95F4-470B-8F57-BDF6E99E5B65}"/>
          </ac:spMkLst>
        </pc:spChg>
        <pc:spChg chg="mod">
          <ac:chgData name="Ajwaliya, Nishit" userId="d6171631-3d08-453d-8afd-2dc62a5026e2" providerId="ADAL" clId="{678AD243-71C4-4A17-8592-AF5CDCD65377}" dt="2021-05-18T20:44:07.728" v="7396" actId="1037"/>
          <ac:spMkLst>
            <pc:docMk/>
            <pc:sldMk cId="503711225" sldId="2147307517"/>
            <ac:spMk id="145" creationId="{5F2C3E65-0357-4596-81C3-B8C7A88FE066}"/>
          </ac:spMkLst>
        </pc:spChg>
        <pc:spChg chg="mod">
          <ac:chgData name="Ajwaliya, Nishit" userId="d6171631-3d08-453d-8afd-2dc62a5026e2" providerId="ADAL" clId="{678AD243-71C4-4A17-8592-AF5CDCD65377}" dt="2021-05-18T20:44:07.728" v="7396" actId="1037"/>
          <ac:spMkLst>
            <pc:docMk/>
            <pc:sldMk cId="503711225" sldId="2147307517"/>
            <ac:spMk id="146" creationId="{BDFF7171-33E3-406E-9647-37D56FBA81BA}"/>
          </ac:spMkLst>
        </pc:spChg>
        <pc:spChg chg="mod">
          <ac:chgData name="Ajwaliya, Nishit" userId="d6171631-3d08-453d-8afd-2dc62a5026e2" providerId="ADAL" clId="{678AD243-71C4-4A17-8592-AF5CDCD65377}" dt="2021-07-01T16:02:27.574" v="11978" actId="14100"/>
          <ac:spMkLst>
            <pc:docMk/>
            <pc:sldMk cId="503711225" sldId="2147307517"/>
            <ac:spMk id="149" creationId="{54E97E99-4815-4869-8934-1874BF0F03C1}"/>
          </ac:spMkLst>
        </pc:spChg>
        <pc:spChg chg="mod">
          <ac:chgData name="Ajwaliya, Nishit" userId="d6171631-3d08-453d-8afd-2dc62a5026e2" providerId="ADAL" clId="{678AD243-71C4-4A17-8592-AF5CDCD65377}" dt="2021-06-30T13:36:16.396" v="10933" actId="1035"/>
          <ac:spMkLst>
            <pc:docMk/>
            <pc:sldMk cId="503711225" sldId="2147307517"/>
            <ac:spMk id="150" creationId="{00E97360-99FA-4CF3-A19E-32F623704C07}"/>
          </ac:spMkLst>
        </pc:spChg>
        <pc:spChg chg="mod">
          <ac:chgData name="Ajwaliya, Nishit" userId="d6171631-3d08-453d-8afd-2dc62a5026e2" providerId="ADAL" clId="{678AD243-71C4-4A17-8592-AF5CDCD65377}" dt="2021-05-18T20:44:07.728" v="7396" actId="1037"/>
          <ac:spMkLst>
            <pc:docMk/>
            <pc:sldMk cId="503711225" sldId="2147307517"/>
            <ac:spMk id="151" creationId="{E77733FA-B4C7-4E85-8FFC-1ABC0A77E4DD}"/>
          </ac:spMkLst>
        </pc:spChg>
        <pc:spChg chg="mod">
          <ac:chgData name="Ajwaliya, Nishit" userId="d6171631-3d08-453d-8afd-2dc62a5026e2" providerId="ADAL" clId="{678AD243-71C4-4A17-8592-AF5CDCD65377}" dt="2021-05-18T20:44:07.728" v="7396" actId="1037"/>
          <ac:spMkLst>
            <pc:docMk/>
            <pc:sldMk cId="503711225" sldId="2147307517"/>
            <ac:spMk id="154" creationId="{7A708E11-3FAE-4947-8BC6-D2BFF336E8F9}"/>
          </ac:spMkLst>
        </pc:spChg>
        <pc:spChg chg="mod">
          <ac:chgData name="Ajwaliya, Nishit" userId="d6171631-3d08-453d-8afd-2dc62a5026e2" providerId="ADAL" clId="{678AD243-71C4-4A17-8592-AF5CDCD65377}" dt="2021-06-30T16:32:30.780" v="11931" actId="1076"/>
          <ac:spMkLst>
            <pc:docMk/>
            <pc:sldMk cId="503711225" sldId="2147307517"/>
            <ac:spMk id="155" creationId="{C05E7508-5569-41E6-8EE4-9382B335A0F5}"/>
          </ac:spMkLst>
        </pc:spChg>
        <pc:spChg chg="mod">
          <ac:chgData name="Ajwaliya, Nishit" userId="d6171631-3d08-453d-8afd-2dc62a5026e2" providerId="ADAL" clId="{678AD243-71C4-4A17-8592-AF5CDCD65377}" dt="2021-05-18T20:44:07.728" v="7396" actId="1037"/>
          <ac:spMkLst>
            <pc:docMk/>
            <pc:sldMk cId="503711225" sldId="2147307517"/>
            <ac:spMk id="156" creationId="{B3F08DDA-230C-41FA-B2A8-97EC5295B038}"/>
          </ac:spMkLst>
        </pc:spChg>
        <pc:spChg chg="mod">
          <ac:chgData name="Ajwaliya, Nishit" userId="d6171631-3d08-453d-8afd-2dc62a5026e2" providerId="ADAL" clId="{678AD243-71C4-4A17-8592-AF5CDCD65377}" dt="2021-05-18T20:44:07.728" v="7396" actId="1037"/>
          <ac:spMkLst>
            <pc:docMk/>
            <pc:sldMk cId="503711225" sldId="2147307517"/>
            <ac:spMk id="157" creationId="{D8F1962A-E25E-4BA3-BCE1-400E91F724A7}"/>
          </ac:spMkLst>
        </pc:spChg>
        <pc:spChg chg="mod">
          <ac:chgData name="Ajwaliya, Nishit" userId="d6171631-3d08-453d-8afd-2dc62a5026e2" providerId="ADAL" clId="{678AD243-71C4-4A17-8592-AF5CDCD65377}" dt="2021-05-18T20:44:07.728" v="7396" actId="1037"/>
          <ac:spMkLst>
            <pc:docMk/>
            <pc:sldMk cId="503711225" sldId="2147307517"/>
            <ac:spMk id="159" creationId="{B33EA084-DB45-40A8-9465-A14A146A077C}"/>
          </ac:spMkLst>
        </pc:spChg>
        <pc:spChg chg="mod">
          <ac:chgData name="Ajwaliya, Nishit" userId="d6171631-3d08-453d-8afd-2dc62a5026e2" providerId="ADAL" clId="{678AD243-71C4-4A17-8592-AF5CDCD65377}" dt="2021-05-18T20:44:07.728" v="7396" actId="1037"/>
          <ac:spMkLst>
            <pc:docMk/>
            <pc:sldMk cId="503711225" sldId="2147307517"/>
            <ac:spMk id="160" creationId="{E2085BA3-B1FD-4496-BFD8-5E957C47CAFF}"/>
          </ac:spMkLst>
        </pc:spChg>
        <pc:spChg chg="mod">
          <ac:chgData name="Ajwaliya, Nishit" userId="d6171631-3d08-453d-8afd-2dc62a5026e2" providerId="ADAL" clId="{678AD243-71C4-4A17-8592-AF5CDCD65377}" dt="2021-05-18T20:44:07.728" v="7396" actId="1037"/>
          <ac:spMkLst>
            <pc:docMk/>
            <pc:sldMk cId="503711225" sldId="2147307517"/>
            <ac:spMk id="161" creationId="{2A17BC4C-A483-47E4-9073-A0CF7CC5BE7B}"/>
          </ac:spMkLst>
        </pc:spChg>
        <pc:spChg chg="mod">
          <ac:chgData name="Ajwaliya, Nishit" userId="d6171631-3d08-453d-8afd-2dc62a5026e2" providerId="ADAL" clId="{678AD243-71C4-4A17-8592-AF5CDCD65377}" dt="2021-05-18T20:44:07.728" v="7396" actId="1037"/>
          <ac:spMkLst>
            <pc:docMk/>
            <pc:sldMk cId="503711225" sldId="2147307517"/>
            <ac:spMk id="162" creationId="{09866D40-368C-4D06-8C26-6D0B06B819C7}"/>
          </ac:spMkLst>
        </pc:spChg>
        <pc:spChg chg="mod">
          <ac:chgData name="Ajwaliya, Nishit" userId="d6171631-3d08-453d-8afd-2dc62a5026e2" providerId="ADAL" clId="{678AD243-71C4-4A17-8592-AF5CDCD65377}" dt="2021-05-18T20:44:07.728" v="7396" actId="1037"/>
          <ac:spMkLst>
            <pc:docMk/>
            <pc:sldMk cId="503711225" sldId="2147307517"/>
            <ac:spMk id="163" creationId="{A93C8E0F-7C89-4B7F-99FC-2B563AF7DB3F}"/>
          </ac:spMkLst>
        </pc:spChg>
        <pc:graphicFrameChg chg="mod">
          <ac:chgData name="Ajwaliya, Nishit" userId="d6171631-3d08-453d-8afd-2dc62a5026e2" providerId="ADAL" clId="{678AD243-71C4-4A17-8592-AF5CDCD65377}" dt="2021-05-18T20:44:07.728" v="7396" actId="1037"/>
          <ac:graphicFrameMkLst>
            <pc:docMk/>
            <pc:sldMk cId="503711225" sldId="2147307517"/>
            <ac:graphicFrameMk id="76" creationId="{53982738-7C9F-42B7-903E-0A0A259EEEDF}"/>
          </ac:graphicFrameMkLst>
        </pc:graphicFrameChg>
        <pc:graphicFrameChg chg="mod">
          <ac:chgData name="Ajwaliya, Nishit" userId="d6171631-3d08-453d-8afd-2dc62a5026e2" providerId="ADAL" clId="{678AD243-71C4-4A17-8592-AF5CDCD65377}" dt="2021-05-18T20:44:07.728" v="7396" actId="1037"/>
          <ac:graphicFrameMkLst>
            <pc:docMk/>
            <pc:sldMk cId="503711225" sldId="2147307517"/>
            <ac:graphicFrameMk id="77" creationId="{4B1A0DC0-7D65-483B-9EA6-5E6034570FA8}"/>
          </ac:graphicFrameMkLst>
        </pc:graphicFrameChg>
      </pc:sldChg>
      <pc:sldChg chg="modSp add">
        <pc:chgData name="Ajwaliya, Nishit" userId="d6171631-3d08-453d-8afd-2dc62a5026e2" providerId="ADAL" clId="{678AD243-71C4-4A17-8592-AF5CDCD65377}" dt="2021-06-29T21:29:17.347" v="10224" actId="1038"/>
        <pc:sldMkLst>
          <pc:docMk/>
          <pc:sldMk cId="1517717599" sldId="2147307518"/>
        </pc:sldMkLst>
        <pc:spChg chg="mod">
          <ac:chgData name="Ajwaliya, Nishit" userId="d6171631-3d08-453d-8afd-2dc62a5026e2" providerId="ADAL" clId="{678AD243-71C4-4A17-8592-AF5CDCD65377}" dt="2021-06-25T13:10:55.135" v="10081" actId="20577"/>
          <ac:spMkLst>
            <pc:docMk/>
            <pc:sldMk cId="1517717599" sldId="2147307518"/>
            <ac:spMk id="211" creationId="{4E0B6F50-1BEB-4AC3-A4AA-D8C30B82EA00}"/>
          </ac:spMkLst>
        </pc:spChg>
        <pc:spChg chg="mod">
          <ac:chgData name="Ajwaliya, Nishit" userId="d6171631-3d08-453d-8afd-2dc62a5026e2" providerId="ADAL" clId="{678AD243-71C4-4A17-8592-AF5CDCD65377}" dt="2021-06-29T21:29:17.347" v="10224" actId="1038"/>
          <ac:spMkLst>
            <pc:docMk/>
            <pc:sldMk cId="1517717599" sldId="2147307518"/>
            <ac:spMk id="213" creationId="{4B5CC930-2486-4E58-ADF1-C87A0B22F49B}"/>
          </ac:spMkLst>
        </pc:spChg>
        <pc:spChg chg="mod">
          <ac:chgData name="Ajwaliya, Nishit" userId="d6171631-3d08-453d-8afd-2dc62a5026e2" providerId="ADAL" clId="{678AD243-71C4-4A17-8592-AF5CDCD65377}" dt="2021-06-25T13:09:39.337" v="10024" actId="1038"/>
          <ac:spMkLst>
            <pc:docMk/>
            <pc:sldMk cId="1517717599" sldId="2147307518"/>
            <ac:spMk id="214" creationId="{A42C1389-0420-45B0-8E26-71CFB517FBE2}"/>
          </ac:spMkLst>
        </pc:spChg>
      </pc:sldChg>
      <pc:sldChg chg="add">
        <pc:chgData name="Ajwaliya, Nishit" userId="d6171631-3d08-453d-8afd-2dc62a5026e2" providerId="ADAL" clId="{678AD243-71C4-4A17-8592-AF5CDCD65377}" dt="2021-06-14T21:15:26.289" v="9906"/>
        <pc:sldMkLst>
          <pc:docMk/>
          <pc:sldMk cId="3863685249" sldId="2147307525"/>
        </pc:sldMkLst>
      </pc:sldChg>
      <pc:sldChg chg="addSp delSp modSp add">
        <pc:chgData name="Ajwaliya, Nishit" userId="d6171631-3d08-453d-8afd-2dc62a5026e2" providerId="ADAL" clId="{678AD243-71C4-4A17-8592-AF5CDCD65377}" dt="2021-06-30T16:27:07.953" v="11929" actId="14100"/>
        <pc:sldMkLst>
          <pc:docMk/>
          <pc:sldMk cId="4018107320" sldId="2147307534"/>
        </pc:sldMkLst>
        <pc:spChg chg="add mod">
          <ac:chgData name="Ajwaliya, Nishit" userId="d6171631-3d08-453d-8afd-2dc62a5026e2" providerId="ADAL" clId="{678AD243-71C4-4A17-8592-AF5CDCD65377}" dt="2021-06-30T16:23:45.932" v="11617" actId="1035"/>
          <ac:spMkLst>
            <pc:docMk/>
            <pc:sldMk cId="4018107320" sldId="2147307534"/>
            <ac:spMk id="68" creationId="{5E3F43E4-42BE-4122-9F70-83C0093E6FEF}"/>
          </ac:spMkLst>
        </pc:spChg>
        <pc:spChg chg="add mod">
          <ac:chgData name="Ajwaliya, Nishit" userId="d6171631-3d08-453d-8afd-2dc62a5026e2" providerId="ADAL" clId="{678AD243-71C4-4A17-8592-AF5CDCD65377}" dt="2021-06-30T16:26:06.576" v="11820" actId="1038"/>
          <ac:spMkLst>
            <pc:docMk/>
            <pc:sldMk cId="4018107320" sldId="2147307534"/>
            <ac:spMk id="69" creationId="{2D5134FA-6A09-4988-8800-0EDCCE7B6FA3}"/>
          </ac:spMkLst>
        </pc:spChg>
        <pc:spChg chg="add mod">
          <ac:chgData name="Ajwaliya, Nishit" userId="d6171631-3d08-453d-8afd-2dc62a5026e2" providerId="ADAL" clId="{678AD243-71C4-4A17-8592-AF5CDCD65377}" dt="2021-06-30T16:26:43.480" v="11928" actId="1038"/>
          <ac:spMkLst>
            <pc:docMk/>
            <pc:sldMk cId="4018107320" sldId="2147307534"/>
            <ac:spMk id="70" creationId="{3E339D2F-AF42-41F7-8C29-A534F96B55F6}"/>
          </ac:spMkLst>
        </pc:spChg>
        <pc:spChg chg="mod">
          <ac:chgData name="Ajwaliya, Nishit" userId="d6171631-3d08-453d-8afd-2dc62a5026e2" providerId="ADAL" clId="{678AD243-71C4-4A17-8592-AF5CDCD65377}" dt="2021-06-30T16:25:55.442" v="11747" actId="14100"/>
          <ac:spMkLst>
            <pc:docMk/>
            <pc:sldMk cId="4018107320" sldId="2147307534"/>
            <ac:spMk id="108" creationId="{13730E69-4CE1-466F-B1B4-7675F3CE27EC}"/>
          </ac:spMkLst>
        </pc:spChg>
        <pc:spChg chg="mod">
          <ac:chgData name="Ajwaliya, Nishit" userId="d6171631-3d08-453d-8afd-2dc62a5026e2" providerId="ADAL" clId="{678AD243-71C4-4A17-8592-AF5CDCD65377}" dt="2021-06-30T16:23:02.782" v="11449" actId="1038"/>
          <ac:spMkLst>
            <pc:docMk/>
            <pc:sldMk cId="4018107320" sldId="2147307534"/>
            <ac:spMk id="110" creationId="{835DF587-DE9C-419C-88CB-7EFC7444B36E}"/>
          </ac:spMkLst>
        </pc:spChg>
        <pc:spChg chg="mod">
          <ac:chgData name="Ajwaliya, Nishit" userId="d6171631-3d08-453d-8afd-2dc62a5026e2" providerId="ADAL" clId="{678AD243-71C4-4A17-8592-AF5CDCD65377}" dt="2021-06-30T16:25:48.524" v="11746" actId="1037"/>
          <ac:spMkLst>
            <pc:docMk/>
            <pc:sldMk cId="4018107320" sldId="2147307534"/>
            <ac:spMk id="112" creationId="{80609687-4E9E-44FF-B1A8-62F998B1A6C3}"/>
          </ac:spMkLst>
        </pc:spChg>
        <pc:spChg chg="mod">
          <ac:chgData name="Ajwaliya, Nishit" userId="d6171631-3d08-453d-8afd-2dc62a5026e2" providerId="ADAL" clId="{678AD243-71C4-4A17-8592-AF5CDCD65377}" dt="2021-06-30T14:55:58.641" v="11162" actId="14100"/>
          <ac:spMkLst>
            <pc:docMk/>
            <pc:sldMk cId="4018107320" sldId="2147307534"/>
            <ac:spMk id="115" creationId="{D17A49CF-5716-4DAB-B53E-4BF77341784F}"/>
          </ac:spMkLst>
        </pc:spChg>
        <pc:spChg chg="mod">
          <ac:chgData name="Ajwaliya, Nishit" userId="d6171631-3d08-453d-8afd-2dc62a5026e2" providerId="ADAL" clId="{678AD243-71C4-4A17-8592-AF5CDCD65377}" dt="2021-06-30T16:27:07.953" v="11929" actId="14100"/>
          <ac:spMkLst>
            <pc:docMk/>
            <pc:sldMk cId="4018107320" sldId="2147307534"/>
            <ac:spMk id="116" creationId="{01A54A95-BC5E-48E2-ACA5-7559376DDB1A}"/>
          </ac:spMkLst>
        </pc:spChg>
        <pc:spChg chg="mod">
          <ac:chgData name="Ajwaliya, Nishit" userId="d6171631-3d08-453d-8afd-2dc62a5026e2" providerId="ADAL" clId="{678AD243-71C4-4A17-8592-AF5CDCD65377}" dt="2021-06-30T14:55:45.198" v="11161" actId="1035"/>
          <ac:spMkLst>
            <pc:docMk/>
            <pc:sldMk cId="4018107320" sldId="2147307534"/>
            <ac:spMk id="118" creationId="{B65FE0BE-2FD8-47D0-94B5-71DCFC3A7914}"/>
          </ac:spMkLst>
        </pc:spChg>
        <pc:spChg chg="mod">
          <ac:chgData name="Ajwaliya, Nishit" userId="d6171631-3d08-453d-8afd-2dc62a5026e2" providerId="ADAL" clId="{678AD243-71C4-4A17-8592-AF5CDCD65377}" dt="2021-06-30T14:55:31.653" v="11159" actId="1036"/>
          <ac:spMkLst>
            <pc:docMk/>
            <pc:sldMk cId="4018107320" sldId="2147307534"/>
            <ac:spMk id="124" creationId="{51C3A39A-82B0-401C-82CB-FF06B7A28A4D}"/>
          </ac:spMkLst>
        </pc:spChg>
        <pc:spChg chg="mod">
          <ac:chgData name="Ajwaliya, Nishit" userId="d6171631-3d08-453d-8afd-2dc62a5026e2" providerId="ADAL" clId="{678AD243-71C4-4A17-8592-AF5CDCD65377}" dt="2021-06-30T14:55:34.255" v="11160" actId="1036"/>
          <ac:spMkLst>
            <pc:docMk/>
            <pc:sldMk cId="4018107320" sldId="2147307534"/>
            <ac:spMk id="126" creationId="{4DD5BC0F-BA31-4A4A-A420-460669077840}"/>
          </ac:spMkLst>
        </pc:spChg>
        <pc:spChg chg="mod">
          <ac:chgData name="Ajwaliya, Nishit" userId="d6171631-3d08-453d-8afd-2dc62a5026e2" providerId="ADAL" clId="{678AD243-71C4-4A17-8592-AF5CDCD65377}" dt="2021-06-30T16:24:11.789" v="11630" actId="1037"/>
          <ac:spMkLst>
            <pc:docMk/>
            <pc:sldMk cId="4018107320" sldId="2147307534"/>
            <ac:spMk id="140" creationId="{2FB78A51-7C48-4897-B5D8-6230DCAEAA7B}"/>
          </ac:spMkLst>
        </pc:spChg>
        <pc:spChg chg="add del">
          <ac:chgData name="Ajwaliya, Nishit" userId="d6171631-3d08-453d-8afd-2dc62a5026e2" providerId="ADAL" clId="{678AD243-71C4-4A17-8592-AF5CDCD65377}" dt="2021-06-30T16:22:51.701" v="11391" actId="478"/>
          <ac:spMkLst>
            <pc:docMk/>
            <pc:sldMk cId="4018107320" sldId="2147307534"/>
            <ac:spMk id="141" creationId="{0CE90CA8-4E68-42AD-85CF-6E79E6527428}"/>
          </ac:spMkLst>
        </pc:spChg>
      </pc:sldChg>
    </pc:docChg>
  </pc:docChgLst>
  <pc:docChgLst>
    <pc:chgData name="Ajwaliya, Nishit" userId="d6171631-3d08-453d-8afd-2dc62a5026e2" providerId="ADAL" clId="{935B22AE-6A4C-4B49-98E1-65866C72BCA1}"/>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08/07/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08/07/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dirty="0"/>
          </a:p>
        </p:txBody>
      </p:sp>
    </p:spTree>
    <p:extLst>
      <p:ext uri="{BB962C8B-B14F-4D97-AF65-F5344CB8AC3E}">
        <p14:creationId xmlns:p14="http://schemas.microsoft.com/office/powerpoint/2010/main" val="1914823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2</a:t>
            </a:fld>
            <a:endParaRPr kumimoji="0" lang="en-GB" sz="1200" b="1" i="0" u="none" strike="noStrike" kern="0" cap="none" spc="0" normalizeH="0" baseline="0" noProof="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1748575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8F0E85-BE32-4349-87A6-40810B17334B}" type="slidenum">
              <a:rPr lang="en-GB" smtClean="0"/>
              <a:t>3</a:t>
            </a:fld>
            <a:endParaRPr lang="en-GB"/>
          </a:p>
        </p:txBody>
      </p:sp>
    </p:spTree>
    <p:extLst>
      <p:ext uri="{BB962C8B-B14F-4D97-AF65-F5344CB8AC3E}">
        <p14:creationId xmlns:p14="http://schemas.microsoft.com/office/powerpoint/2010/main" val="37573456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xml"/><Relationship Id="rId7" Type="http://schemas.openxmlformats.org/officeDocument/2006/relationships/image" Target="../media/image8.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377346" y="4596212"/>
            <a:ext cx="1356744" cy="366143"/>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dirty="0"/>
              <a:t>Click to edit Master title style</a:t>
            </a:r>
            <a:endParaRPr lang="en-GB" dirty="0"/>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dirty="0"/>
              <a:t>Click to edit Sub title text style</a:t>
            </a:r>
          </a:p>
        </p:txBody>
      </p:sp>
    </p:spTree>
    <p:extLst>
      <p:ext uri="{BB962C8B-B14F-4D97-AF65-F5344CB8AC3E}">
        <p14:creationId xmlns:p14="http://schemas.microsoft.com/office/powerpoint/2010/main" val="14910609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 Arrow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193" y="1193"/>
                        <a:ext cx="1191" cy="1191"/>
                      </a:xfrm>
                      <a:prstGeom prst="rect">
                        <a:avLst/>
                      </a:prstGeom>
                    </p:spPr>
                  </p:pic>
                </p:oleObj>
              </mc:Fallback>
            </mc:AlternateContent>
          </a:graphicData>
        </a:graphic>
      </p:graphicFrame>
      <p:sp>
        <p:nvSpPr>
          <p:cNvPr id="5" name="Rectangle 4" hidden="1"/>
          <p:cNvSpPr/>
          <p:nvPr userDrawn="1">
            <p:custDataLst>
              <p:tags r:id="rId4"/>
            </p:custDataLst>
          </p:nvPr>
        </p:nvSpPr>
        <p:spPr>
          <a:xfrm>
            <a:off x="1" y="1"/>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1"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322780" y="267574"/>
            <a:ext cx="3710588" cy="276999"/>
          </a:xfrm>
          <a:prstGeom prst="rect">
            <a:avLst/>
          </a:prstGeom>
        </p:spPr>
        <p:txBody>
          <a:bodyPr/>
          <a:lstStyle>
            <a:lvl1pPr>
              <a:defRPr sz="2000">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7115178"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766"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66"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Footer Placeholder 1">
            <a:extLst>
              <a:ext uri="{FF2B5EF4-FFF2-40B4-BE49-F238E27FC236}">
                <a16:creationId xmlns:a16="http://schemas.microsoft.com/office/drawing/2014/main" id="{5595E345-7284-4667-AC5E-016E8BC22574}"/>
              </a:ext>
            </a:extLst>
          </p:cNvPr>
          <p:cNvSpPr txBox="1">
            <a:spLocks/>
          </p:cNvSpPr>
          <p:nvPr userDrawn="1"/>
        </p:nvSpPr>
        <p:spPr>
          <a:xfrm>
            <a:off x="322781"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fr-FR" sz="1100" b="1"/>
              <a:t>National Grid </a:t>
            </a:r>
          </a:p>
        </p:txBody>
      </p:sp>
    </p:spTree>
    <p:extLst>
      <p:ext uri="{BB962C8B-B14F-4D97-AF65-F5344CB8AC3E}">
        <p14:creationId xmlns:p14="http://schemas.microsoft.com/office/powerpoint/2010/main" val="26613937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2615312" y="4772394"/>
            <a:ext cx="5814941"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323266" y="4540029"/>
            <a:ext cx="2076348" cy="36185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323266" y="4616761"/>
            <a:ext cx="2072286" cy="245891"/>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16959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90872"/>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711669" y="4778260"/>
            <a:ext cx="5718584"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pic>
        <p:nvPicPr>
          <p:cNvPr id="4" name="Picture 3"/>
          <p:cNvPicPr>
            <a:picLocks noChangeAspect="1"/>
          </p:cNvPicPr>
          <p:nvPr userDrawn="1"/>
        </p:nvPicPr>
        <p:blipFill>
          <a:blip r:embed="rId17"/>
          <a:stretch>
            <a:fillRect/>
          </a:stretch>
        </p:blipFill>
        <p:spPr>
          <a:xfrm>
            <a:off x="322780" y="4740425"/>
            <a:ext cx="2231234" cy="264832"/>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 id="2147483818" r:id="rId14"/>
    <p:sldLayoutId id="2147483819" r:id="rId15"/>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tags" Target="../tags/tag4.xml"/><Relationship Id="rId21" Type="http://schemas.openxmlformats.org/officeDocument/2006/relationships/image" Target="../media/image25.png"/><Relationship Id="rId7" Type="http://schemas.openxmlformats.org/officeDocument/2006/relationships/image" Target="../media/image11.emf"/><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tags" Target="../tags/tag3.xml"/><Relationship Id="rId16" Type="http://schemas.openxmlformats.org/officeDocument/2006/relationships/image" Target="../media/image20.svg"/><Relationship Id="rId20" Type="http://schemas.openxmlformats.org/officeDocument/2006/relationships/image" Target="../media/image24.svg"/><Relationship Id="rId29" Type="http://schemas.openxmlformats.org/officeDocument/2006/relationships/image" Target="../media/image33.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5.png"/><Relationship Id="rId24" Type="http://schemas.openxmlformats.org/officeDocument/2006/relationships/image" Target="../media/image28.svg"/><Relationship Id="rId32" Type="http://schemas.openxmlformats.org/officeDocument/2006/relationships/image" Target="../media/image36.svg"/><Relationship Id="rId5" Type="http://schemas.openxmlformats.org/officeDocument/2006/relationships/notesSlide" Target="../notesSlides/notesSlide3.xml"/><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svg"/><Relationship Id="rId10" Type="http://schemas.openxmlformats.org/officeDocument/2006/relationships/image" Target="../media/image14.svg"/><Relationship Id="rId19" Type="http://schemas.openxmlformats.org/officeDocument/2006/relationships/image" Target="../media/image23.png"/><Relationship Id="rId31" Type="http://schemas.openxmlformats.org/officeDocument/2006/relationships/image" Target="../media/image35.png"/><Relationship Id="rId4" Type="http://schemas.openxmlformats.org/officeDocument/2006/relationships/slideLayout" Target="../slideLayouts/slideLayout15.xml"/><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 Id="rId27" Type="http://schemas.openxmlformats.org/officeDocument/2006/relationships/image" Target="../media/image31.png"/><Relationship Id="rId30" Type="http://schemas.openxmlformats.org/officeDocument/2006/relationships/image" Target="../media/image34.sv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tags" Target="../tags/tag6.xml"/><Relationship Id="rId21" Type="http://schemas.openxmlformats.org/officeDocument/2006/relationships/image" Target="../media/image18.svg"/><Relationship Id="rId7" Type="http://schemas.openxmlformats.org/officeDocument/2006/relationships/image" Target="../media/image37.png"/><Relationship Id="rId12" Type="http://schemas.openxmlformats.org/officeDocument/2006/relationships/image" Target="../media/image33.png"/><Relationship Id="rId17" Type="http://schemas.openxmlformats.org/officeDocument/2006/relationships/image" Target="../media/image14.svg"/><Relationship Id="rId25" Type="http://schemas.openxmlformats.org/officeDocument/2006/relationships/image" Target="../media/image22.svg"/><Relationship Id="rId2" Type="http://schemas.openxmlformats.org/officeDocument/2006/relationships/tags" Target="../tags/tag5.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8.svg"/><Relationship Id="rId1" Type="http://schemas.openxmlformats.org/officeDocument/2006/relationships/vmlDrawing" Target="../drawings/vmlDrawing3.vml"/><Relationship Id="rId6" Type="http://schemas.openxmlformats.org/officeDocument/2006/relationships/image" Target="../media/image11.emf"/><Relationship Id="rId11" Type="http://schemas.openxmlformats.org/officeDocument/2006/relationships/image" Target="../media/image32.svg"/><Relationship Id="rId24" Type="http://schemas.openxmlformats.org/officeDocument/2006/relationships/image" Target="../media/image21.png"/><Relationship Id="rId5" Type="http://schemas.openxmlformats.org/officeDocument/2006/relationships/oleObject" Target="../embeddings/oleObject3.bin"/><Relationship Id="rId15" Type="http://schemas.openxmlformats.org/officeDocument/2006/relationships/image" Target="../media/image36.svg"/><Relationship Id="rId23" Type="http://schemas.openxmlformats.org/officeDocument/2006/relationships/image" Target="../media/image20.svg"/><Relationship Id="rId28" Type="http://schemas.openxmlformats.org/officeDocument/2006/relationships/image" Target="../media/image27.png"/><Relationship Id="rId10" Type="http://schemas.openxmlformats.org/officeDocument/2006/relationships/image" Target="../media/image31.png"/><Relationship Id="rId19" Type="http://schemas.openxmlformats.org/officeDocument/2006/relationships/image" Target="../media/image16.svg"/><Relationship Id="rId4" Type="http://schemas.openxmlformats.org/officeDocument/2006/relationships/slideLayout" Target="../slideLayouts/slideLayout15.xml"/><Relationship Id="rId9" Type="http://schemas.openxmlformats.org/officeDocument/2006/relationships/image" Target="../media/image30.svg"/><Relationship Id="rId14" Type="http://schemas.openxmlformats.org/officeDocument/2006/relationships/image" Target="../media/image35.png"/><Relationship Id="rId22" Type="http://schemas.openxmlformats.org/officeDocument/2006/relationships/image" Target="../media/image19.png"/><Relationship Id="rId27" Type="http://schemas.openxmlformats.org/officeDocument/2006/relationships/image" Target="../media/image24.sv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2.svg"/><Relationship Id="rId18" Type="http://schemas.openxmlformats.org/officeDocument/2006/relationships/image" Target="../media/image15.png"/><Relationship Id="rId26" Type="http://schemas.openxmlformats.org/officeDocument/2006/relationships/image" Target="../media/image23.png"/><Relationship Id="rId3" Type="http://schemas.openxmlformats.org/officeDocument/2006/relationships/tags" Target="../tags/tag8.xml"/><Relationship Id="rId21" Type="http://schemas.openxmlformats.org/officeDocument/2006/relationships/image" Target="../media/image18.svg"/><Relationship Id="rId7" Type="http://schemas.openxmlformats.org/officeDocument/2006/relationships/image" Target="../media/image37.png"/><Relationship Id="rId12" Type="http://schemas.openxmlformats.org/officeDocument/2006/relationships/image" Target="../media/image31.png"/><Relationship Id="rId17" Type="http://schemas.openxmlformats.org/officeDocument/2006/relationships/image" Target="../media/image14.svg"/><Relationship Id="rId25" Type="http://schemas.openxmlformats.org/officeDocument/2006/relationships/image" Target="../media/image22.svg"/><Relationship Id="rId2" Type="http://schemas.openxmlformats.org/officeDocument/2006/relationships/tags" Target="../tags/tag7.xml"/><Relationship Id="rId16" Type="http://schemas.openxmlformats.org/officeDocument/2006/relationships/image" Target="../media/image13.png"/><Relationship Id="rId20" Type="http://schemas.openxmlformats.org/officeDocument/2006/relationships/image" Target="../media/image17.png"/><Relationship Id="rId29" Type="http://schemas.openxmlformats.org/officeDocument/2006/relationships/image" Target="../media/image28.svg"/><Relationship Id="rId1" Type="http://schemas.openxmlformats.org/officeDocument/2006/relationships/vmlDrawing" Target="../drawings/vmlDrawing4.vml"/><Relationship Id="rId6" Type="http://schemas.openxmlformats.org/officeDocument/2006/relationships/image" Target="../media/image11.emf"/><Relationship Id="rId11" Type="http://schemas.openxmlformats.org/officeDocument/2006/relationships/image" Target="../media/image30.svg"/><Relationship Id="rId24" Type="http://schemas.openxmlformats.org/officeDocument/2006/relationships/image" Target="../media/image21.png"/><Relationship Id="rId5" Type="http://schemas.openxmlformats.org/officeDocument/2006/relationships/oleObject" Target="../embeddings/oleObject3.bin"/><Relationship Id="rId15" Type="http://schemas.openxmlformats.org/officeDocument/2006/relationships/image" Target="../media/image34.svg"/><Relationship Id="rId23" Type="http://schemas.openxmlformats.org/officeDocument/2006/relationships/image" Target="../media/image20.svg"/><Relationship Id="rId28" Type="http://schemas.openxmlformats.org/officeDocument/2006/relationships/image" Target="../media/image27.png"/><Relationship Id="rId10" Type="http://schemas.openxmlformats.org/officeDocument/2006/relationships/image" Target="../media/image29.png"/><Relationship Id="rId19" Type="http://schemas.openxmlformats.org/officeDocument/2006/relationships/image" Target="../media/image16.svg"/><Relationship Id="rId31" Type="http://schemas.openxmlformats.org/officeDocument/2006/relationships/image" Target="../media/image39.svg"/><Relationship Id="rId4" Type="http://schemas.openxmlformats.org/officeDocument/2006/relationships/slideLayout" Target="../slideLayouts/slideLayout15.xml"/><Relationship Id="rId9" Type="http://schemas.openxmlformats.org/officeDocument/2006/relationships/image" Target="../media/image36.svg"/><Relationship Id="rId14" Type="http://schemas.openxmlformats.org/officeDocument/2006/relationships/image" Target="../media/image33.png"/><Relationship Id="rId22" Type="http://schemas.openxmlformats.org/officeDocument/2006/relationships/image" Target="../media/image19.png"/><Relationship Id="rId27" Type="http://schemas.openxmlformats.org/officeDocument/2006/relationships/image" Target="../media/image24.svg"/><Relationship Id="rId30"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A39DE-4587-411E-88E0-487FE0A478E0}"/>
              </a:ext>
            </a:extLst>
          </p:cNvPr>
          <p:cNvSpPr>
            <a:spLocks noGrp="1"/>
          </p:cNvSpPr>
          <p:nvPr>
            <p:ph type="title"/>
          </p:nvPr>
        </p:nvSpPr>
        <p:spPr>
          <a:xfrm>
            <a:off x="148609" y="128436"/>
            <a:ext cx="8497370" cy="430887"/>
          </a:xfrm>
        </p:spPr>
        <p:txBody>
          <a:bodyPr/>
          <a:lstStyle/>
          <a:p>
            <a:r>
              <a:rPr lang="en-US" dirty="0"/>
              <a:t>Why Master Data Management (MDM)?</a:t>
            </a:r>
          </a:p>
        </p:txBody>
      </p:sp>
      <p:sp>
        <p:nvSpPr>
          <p:cNvPr id="4" name="TextBox 3">
            <a:extLst>
              <a:ext uri="{FF2B5EF4-FFF2-40B4-BE49-F238E27FC236}">
                <a16:creationId xmlns:a16="http://schemas.microsoft.com/office/drawing/2014/main" id="{1747B4A7-E17D-45FE-B7D1-4C995A3D72AF}"/>
              </a:ext>
            </a:extLst>
          </p:cNvPr>
          <p:cNvSpPr txBox="1"/>
          <p:nvPr/>
        </p:nvSpPr>
        <p:spPr bwMode="auto">
          <a:xfrm>
            <a:off x="272583" y="426176"/>
            <a:ext cx="8722808" cy="48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1400" b="0" dirty="0">
                <a:solidFill>
                  <a:schemeClr val="tx1">
                    <a:lumMod val="50000"/>
                  </a:schemeClr>
                </a:solidFill>
              </a:rPr>
              <a:t>As per the “Fixing Data” paper presented in April 2020 to executives by Chief Data Officer Charles Zentay, unless we “Fix Data” our security, major programs, and financial and operational performance are at risk. The paper was based </a:t>
            </a:r>
            <a:r>
              <a:rPr lang="en-GB" sz="1400" b="0" dirty="0">
                <a:solidFill>
                  <a:schemeClr val="tx1">
                    <a:lumMod val="50000"/>
                  </a:schemeClr>
                </a:solidFill>
              </a:rPr>
              <a:t>work by Boston Consulting Group BCG). As per the paper National Grid rates “low” or “very low” across the three major components of Data (Master Data Solutions, Data Governance, and Data Tools &amp; Platforms).  BCG’s study, that looked into a subset of the Data domains at National Grid, estimated the costs of bad Data are $73-98M.  Given the limited scope of their review, they concluded that the full cost is likely much higher.” </a:t>
            </a:r>
          </a:p>
          <a:p>
            <a:endParaRPr lang="en-GB" sz="900" b="0" dirty="0">
              <a:solidFill>
                <a:schemeClr val="tx1">
                  <a:lumMod val="50000"/>
                </a:schemeClr>
              </a:solidFill>
            </a:endParaRPr>
          </a:p>
          <a:p>
            <a:endParaRPr lang="en-GB" sz="900" b="0" dirty="0">
              <a:solidFill>
                <a:schemeClr val="tx1">
                  <a:lumMod val="50000"/>
                </a:schemeClr>
              </a:solidFill>
            </a:endParaRPr>
          </a:p>
          <a:p>
            <a:endParaRPr lang="en-GB" sz="900" b="0" dirty="0">
              <a:solidFill>
                <a:schemeClr val="tx1">
                  <a:lumMod val="50000"/>
                </a:schemeClr>
              </a:solidFill>
            </a:endParaRPr>
          </a:p>
          <a:p>
            <a:endParaRPr lang="en-GB" sz="900" b="0" dirty="0">
              <a:solidFill>
                <a:schemeClr val="tx1">
                  <a:lumMod val="50000"/>
                </a:schemeClr>
              </a:solidFill>
            </a:endParaRPr>
          </a:p>
          <a:p>
            <a:endParaRPr lang="en-GB" sz="900" b="0" dirty="0">
              <a:solidFill>
                <a:schemeClr val="tx1">
                  <a:lumMod val="50000"/>
                </a:schemeClr>
              </a:solidFill>
            </a:endParaRPr>
          </a:p>
          <a:p>
            <a:endParaRPr lang="en-GB" sz="900" b="0" dirty="0">
              <a:solidFill>
                <a:schemeClr val="tx1">
                  <a:lumMod val="50000"/>
                </a:schemeClr>
              </a:solidFill>
            </a:endParaRPr>
          </a:p>
          <a:p>
            <a:endParaRPr lang="en-GB" sz="900" b="0" dirty="0">
              <a:solidFill>
                <a:schemeClr val="tx1">
                  <a:lumMod val="50000"/>
                </a:schemeClr>
              </a:solidFill>
            </a:endParaRPr>
          </a:p>
          <a:p>
            <a:endParaRPr lang="en-GB" sz="1400" b="0" dirty="0">
              <a:solidFill>
                <a:schemeClr val="tx1">
                  <a:lumMod val="50000"/>
                </a:schemeClr>
              </a:solidFill>
            </a:endParaRPr>
          </a:p>
          <a:p>
            <a:pPr>
              <a:lnSpc>
                <a:spcPct val="110000"/>
              </a:lnSpc>
              <a:spcAft>
                <a:spcPts val="0"/>
              </a:spcAft>
            </a:pPr>
            <a:r>
              <a:rPr lang="en-GB" sz="1400" b="0" dirty="0">
                <a:solidFill>
                  <a:schemeClr val="tx1">
                    <a:lumMod val="50000"/>
                  </a:schemeClr>
                </a:solidFill>
              </a:rPr>
              <a:t>To addresses these issues, we need three key components to “Fix Data”:</a:t>
            </a:r>
          </a:p>
          <a:p>
            <a:pPr marL="342900" indent="-342900">
              <a:lnSpc>
                <a:spcPct val="110000"/>
              </a:lnSpc>
              <a:spcAft>
                <a:spcPts val="0"/>
              </a:spcAft>
              <a:buFont typeface="+mj-lt"/>
              <a:buAutoNum type="arabicPeriod"/>
            </a:pPr>
            <a:r>
              <a:rPr lang="en-GB" sz="1400" dirty="0">
                <a:solidFill>
                  <a:schemeClr val="tx1">
                    <a:lumMod val="50000"/>
                  </a:schemeClr>
                </a:solidFill>
              </a:rPr>
              <a:t>Master Data Solutions – for each data domain, establish a data master</a:t>
            </a:r>
          </a:p>
          <a:p>
            <a:pPr marL="342900" indent="-342900">
              <a:lnSpc>
                <a:spcPct val="110000"/>
              </a:lnSpc>
              <a:spcAft>
                <a:spcPts val="0"/>
              </a:spcAft>
              <a:buFont typeface="+mj-lt"/>
              <a:buAutoNum type="arabicPeriod"/>
            </a:pPr>
            <a:r>
              <a:rPr lang="en-GB" sz="1400" b="0" dirty="0">
                <a:solidFill>
                  <a:schemeClr val="tx1">
                    <a:lumMod val="50000"/>
                  </a:schemeClr>
                </a:solidFill>
              </a:rPr>
              <a:t>Data Governance &amp; Stewardship – Business ownership of data, accelerated by BMS</a:t>
            </a:r>
          </a:p>
          <a:p>
            <a:pPr marL="342900" indent="-342900">
              <a:lnSpc>
                <a:spcPct val="110000"/>
              </a:lnSpc>
              <a:spcAft>
                <a:spcPts val="0"/>
              </a:spcAft>
              <a:buFont typeface="+mj-lt"/>
              <a:buAutoNum type="arabicPeriod"/>
            </a:pPr>
            <a:r>
              <a:rPr lang="en-GB" sz="1400" b="0" dirty="0">
                <a:solidFill>
                  <a:schemeClr val="tx1">
                    <a:lumMod val="50000"/>
                  </a:schemeClr>
                </a:solidFill>
              </a:rPr>
              <a:t>Data Tools &amp; Capabilities – One, common approach to Enterprise Data solutions</a:t>
            </a:r>
          </a:p>
          <a:p>
            <a:endParaRPr lang="en-US" sz="1400" b="0" dirty="0">
              <a:solidFill>
                <a:schemeClr val="tx1">
                  <a:lumMod val="50000"/>
                </a:schemeClr>
              </a:solidFill>
            </a:endParaRPr>
          </a:p>
          <a:p>
            <a:endParaRPr lang="en-US" sz="1400" b="0" kern="0" dirty="0">
              <a:solidFill>
                <a:schemeClr val="tx1"/>
              </a:solidFill>
              <a:latin typeface="+mn-lt"/>
              <a:ea typeface="+mn-ea"/>
            </a:endParaRPr>
          </a:p>
        </p:txBody>
      </p:sp>
      <p:pic>
        <p:nvPicPr>
          <p:cNvPr id="5" name="Picture 4">
            <a:extLst>
              <a:ext uri="{FF2B5EF4-FFF2-40B4-BE49-F238E27FC236}">
                <a16:creationId xmlns:a16="http://schemas.microsoft.com/office/drawing/2014/main" id="{1FF36BFF-44F3-43D5-9FE3-1E01012E050B}"/>
              </a:ext>
            </a:extLst>
          </p:cNvPr>
          <p:cNvPicPr>
            <a:picLocks noChangeAspect="1"/>
          </p:cNvPicPr>
          <p:nvPr/>
        </p:nvPicPr>
        <p:blipFill>
          <a:blip r:embed="rId3"/>
          <a:stretch>
            <a:fillRect/>
          </a:stretch>
        </p:blipFill>
        <p:spPr>
          <a:xfrm>
            <a:off x="2084706" y="1732705"/>
            <a:ext cx="5998043" cy="2033609"/>
          </a:xfrm>
          <a:prstGeom prst="rect">
            <a:avLst/>
          </a:prstGeom>
        </p:spPr>
      </p:pic>
    </p:spTree>
    <p:extLst>
      <p:ext uri="{BB962C8B-B14F-4D97-AF65-F5344CB8AC3E}">
        <p14:creationId xmlns:p14="http://schemas.microsoft.com/office/powerpoint/2010/main" val="3767634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024C103-4B18-4DC9-94D5-A166B433FC07}"/>
              </a:ext>
            </a:extLst>
          </p:cNvPr>
          <p:cNvSpPr txBox="1"/>
          <p:nvPr/>
        </p:nvSpPr>
        <p:spPr bwMode="auto">
          <a:xfrm>
            <a:off x="314931" y="453228"/>
            <a:ext cx="3972980" cy="446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lvl="1" defTabSz="914378">
              <a:buClr>
                <a:srgbClr val="55555A"/>
              </a:buClr>
            </a:pPr>
            <a:r>
              <a:rPr lang="en-US" sz="1500" b="1">
                <a:solidFill>
                  <a:srgbClr val="500A78"/>
                </a:solidFill>
                <a:latin typeface="Arial"/>
                <a:ea typeface="ＭＳ Ｐゴシック"/>
              </a:rPr>
              <a:t>US Customer Transformation</a:t>
            </a:r>
          </a:p>
          <a:p>
            <a:pPr marL="555736" lvl="2" indent="-285743" defTabSz="914378">
              <a:buClr>
                <a:srgbClr val="00148C"/>
              </a:buClr>
              <a:buFont typeface="Wingdings" panose="05000000000000000000" pitchFamily="2" charset="2"/>
              <a:buChar char="ü"/>
            </a:pPr>
            <a:r>
              <a:rPr lang="en-US" sz="1200">
                <a:solidFill>
                  <a:schemeClr val="accent5">
                    <a:lumMod val="50000"/>
                  </a:schemeClr>
                </a:solidFill>
              </a:rPr>
              <a:t>Domains: Customer B2C, Workforce, Vendor, Product, Reference</a:t>
            </a:r>
          </a:p>
          <a:p>
            <a:pPr marL="555736" lvl="2" indent="-285743" defTabSz="914378">
              <a:buClr>
                <a:srgbClr val="00148C"/>
              </a:buClr>
              <a:buFont typeface="Wingdings" panose="05000000000000000000" pitchFamily="2" charset="2"/>
              <a:buChar char="ü"/>
            </a:pPr>
            <a:r>
              <a:rPr lang="en-US" sz="1200">
                <a:solidFill>
                  <a:schemeClr val="accent5">
                    <a:lumMod val="50000"/>
                  </a:schemeClr>
                </a:solidFill>
              </a:rPr>
              <a:t>FY2022 Business case includes MDM license cost</a:t>
            </a:r>
            <a:endParaRPr lang="en-US" sz="1400" b="1">
              <a:solidFill>
                <a:srgbClr val="55555A">
                  <a:lumMod val="50000"/>
                </a:srgbClr>
              </a:solidFill>
              <a:latin typeface="Arial"/>
              <a:ea typeface="ＭＳ Ｐゴシック"/>
            </a:endParaRPr>
          </a:p>
          <a:p>
            <a:pPr lvl="1" defTabSz="914378">
              <a:buClr>
                <a:srgbClr val="55555A"/>
              </a:buClr>
            </a:pPr>
            <a:r>
              <a:rPr lang="en-US" sz="1400" b="1">
                <a:solidFill>
                  <a:srgbClr val="55555A">
                    <a:lumMod val="50000"/>
                  </a:srgbClr>
                </a:solidFill>
                <a:latin typeface="Arial"/>
                <a:ea typeface="ＭＳ Ｐゴシック"/>
              </a:rPr>
              <a:t>AMI</a:t>
            </a:r>
            <a:r>
              <a:rPr lang="en-US" sz="1600" b="1">
                <a:solidFill>
                  <a:srgbClr val="55555A">
                    <a:lumMod val="50000"/>
                  </a:srgbClr>
                </a:solidFill>
                <a:latin typeface="Arial"/>
                <a:ea typeface="ＭＳ Ｐゴシック"/>
              </a:rPr>
              <a:t> </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Domains: Customer, Asset, Location, Workforce, Reference</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Allocated MDM license cost in FY2022 approved budget</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Required by Jul 2021</a:t>
            </a:r>
          </a:p>
          <a:p>
            <a:pPr lvl="1" defTabSz="914378">
              <a:buClr>
                <a:srgbClr val="55555A"/>
              </a:buClr>
            </a:pPr>
            <a:r>
              <a:rPr lang="en-US" sz="1400" b="1" err="1">
                <a:solidFill>
                  <a:srgbClr val="55555A">
                    <a:lumMod val="50000"/>
                  </a:srgbClr>
                </a:solidFill>
                <a:latin typeface="Arial"/>
                <a:ea typeface="ＭＳ Ｐゴシック"/>
              </a:rPr>
              <a:t>GridMod</a:t>
            </a:r>
            <a:r>
              <a:rPr lang="en-US" sz="1400" b="1">
                <a:solidFill>
                  <a:srgbClr val="55555A">
                    <a:lumMod val="50000"/>
                  </a:srgbClr>
                </a:solidFill>
                <a:latin typeface="Arial"/>
                <a:ea typeface="ＭＳ Ｐゴシック"/>
              </a:rPr>
              <a:t> </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Domains: Asset, Location, Workforce, Reference</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Allocated MDM license cost in FY2022 approved budget</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Required by Jul 2021</a:t>
            </a:r>
          </a:p>
          <a:p>
            <a:pPr lvl="1" defTabSz="914378">
              <a:buClr>
                <a:srgbClr val="55555A"/>
              </a:buClr>
            </a:pPr>
            <a:r>
              <a:rPr lang="en-US" sz="1200" b="1">
                <a:solidFill>
                  <a:srgbClr val="55555A">
                    <a:lumMod val="50000"/>
                  </a:srgbClr>
                </a:solidFill>
                <a:latin typeface="Arial"/>
                <a:ea typeface="ＭＳ Ｐゴシック"/>
              </a:rPr>
              <a:t>IAM</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Domains: Workforce, Reference</a:t>
            </a:r>
          </a:p>
          <a:p>
            <a:pPr marL="269993" lvl="2" indent="0" defTabSz="914378">
              <a:buClr>
                <a:srgbClr val="00148C"/>
              </a:buClr>
              <a:buNone/>
            </a:pPr>
            <a:endParaRPr lang="en-US" sz="1200">
              <a:solidFill>
                <a:srgbClr val="55555A">
                  <a:lumMod val="50000"/>
                </a:srgbClr>
              </a:solidFill>
              <a:latin typeface="Arial"/>
              <a:ea typeface="ＭＳ Ｐゴシック"/>
            </a:endParaRPr>
          </a:p>
        </p:txBody>
      </p:sp>
      <p:sp>
        <p:nvSpPr>
          <p:cNvPr id="2" name="Title 1">
            <a:extLst>
              <a:ext uri="{FF2B5EF4-FFF2-40B4-BE49-F238E27FC236}">
                <a16:creationId xmlns:a16="http://schemas.microsoft.com/office/drawing/2014/main" id="{B7232239-45C8-452E-9670-792186B8A9F8}"/>
              </a:ext>
            </a:extLst>
          </p:cNvPr>
          <p:cNvSpPr>
            <a:spLocks noGrp="1"/>
          </p:cNvSpPr>
          <p:nvPr>
            <p:ph type="title"/>
          </p:nvPr>
        </p:nvSpPr>
        <p:spPr>
          <a:xfrm>
            <a:off x="282856" y="51139"/>
            <a:ext cx="8497370" cy="430887"/>
          </a:xfrm>
        </p:spPr>
        <p:txBody>
          <a:bodyPr/>
          <a:lstStyle/>
          <a:p>
            <a:r>
              <a:rPr lang="en-US"/>
              <a:t>MDM –  Business Drivers</a:t>
            </a:r>
          </a:p>
        </p:txBody>
      </p:sp>
      <p:sp>
        <p:nvSpPr>
          <p:cNvPr id="4" name="TextBox 3">
            <a:extLst>
              <a:ext uri="{FF2B5EF4-FFF2-40B4-BE49-F238E27FC236}">
                <a16:creationId xmlns:a16="http://schemas.microsoft.com/office/drawing/2014/main" id="{AF152C34-ECAE-4C22-A661-E3B6C5C17F6A}"/>
              </a:ext>
            </a:extLst>
          </p:cNvPr>
          <p:cNvSpPr txBox="1"/>
          <p:nvPr/>
        </p:nvSpPr>
        <p:spPr bwMode="auto">
          <a:xfrm>
            <a:off x="4509861" y="461394"/>
            <a:ext cx="4502554" cy="398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lvl="1" defTabSz="914378">
              <a:buClr>
                <a:srgbClr val="55555A"/>
              </a:buClr>
            </a:pPr>
            <a:r>
              <a:rPr lang="en-US" sz="1500" b="1">
                <a:solidFill>
                  <a:srgbClr val="500A78"/>
                </a:solidFill>
                <a:latin typeface="Arial"/>
                <a:ea typeface="ＭＳ Ｐゴシック"/>
              </a:rPr>
              <a:t>Workforce Data Domain</a:t>
            </a:r>
          </a:p>
          <a:p>
            <a:pPr marL="555736" lvl="2" indent="-285743" defTabSz="914378">
              <a:buClr>
                <a:srgbClr val="00148C"/>
              </a:buClr>
              <a:buFont typeface="Wingdings" panose="05000000000000000000" pitchFamily="2" charset="2"/>
              <a:buChar char="ü"/>
            </a:pPr>
            <a:r>
              <a:rPr lang="en-US" sz="1200">
                <a:solidFill>
                  <a:schemeClr val="accent5">
                    <a:lumMod val="50000"/>
                  </a:schemeClr>
                </a:solidFill>
                <a:latin typeface="Arial"/>
                <a:ea typeface="ＭＳ Ｐゴシック"/>
              </a:rPr>
              <a:t>Domains: Workforce, Reference</a:t>
            </a:r>
          </a:p>
          <a:p>
            <a:pPr marL="555736" lvl="2" indent="-285743" defTabSz="914378">
              <a:buClr>
                <a:srgbClr val="00148C"/>
              </a:buClr>
              <a:buFont typeface="Wingdings" panose="05000000000000000000" pitchFamily="2" charset="2"/>
              <a:buChar char="ü"/>
            </a:pPr>
            <a:r>
              <a:rPr lang="en-US" sz="1200">
                <a:solidFill>
                  <a:schemeClr val="accent5">
                    <a:lumMod val="50000"/>
                  </a:schemeClr>
                </a:solidFill>
                <a:latin typeface="Arial"/>
                <a:ea typeface="ＭＳ Ｐゴシック"/>
              </a:rPr>
              <a:t>FY2022 Business case has included MDM license cost </a:t>
            </a:r>
          </a:p>
          <a:p>
            <a:pPr lvl="1" defTabSz="914378">
              <a:buClr>
                <a:srgbClr val="55555A"/>
              </a:buClr>
            </a:pPr>
            <a:r>
              <a:rPr lang="en-US" sz="1500" b="1">
                <a:solidFill>
                  <a:srgbClr val="0073CD"/>
                </a:solidFill>
                <a:latin typeface="Arial"/>
                <a:ea typeface="ＭＳ Ｐゴシック"/>
              </a:rPr>
              <a:t>Digital Enablement – Leverages / Consumes</a:t>
            </a:r>
          </a:p>
          <a:p>
            <a:pPr marL="555736" lvl="2" indent="-285743" defTabSz="914378">
              <a:buClr>
                <a:srgbClr val="00148C"/>
              </a:buClr>
              <a:buFont typeface="Wingdings" panose="05000000000000000000" pitchFamily="2" charset="2"/>
              <a:buChar char="ü"/>
            </a:pPr>
            <a:r>
              <a:rPr lang="en-US" sz="1200">
                <a:solidFill>
                  <a:srgbClr val="0073CD"/>
                </a:solidFill>
                <a:latin typeface="Arial"/>
                <a:ea typeface="ＭＳ Ｐゴシック"/>
              </a:rPr>
              <a:t>Domains: Customer, Workforce, Asset, Location,  Reference</a:t>
            </a:r>
          </a:p>
          <a:p>
            <a:pPr marL="555736" lvl="2" indent="-285743" defTabSz="914378">
              <a:buClr>
                <a:srgbClr val="00148C"/>
              </a:buClr>
              <a:buFont typeface="Wingdings" panose="05000000000000000000" pitchFamily="2" charset="2"/>
              <a:buChar char="ü"/>
            </a:pPr>
            <a:r>
              <a:rPr lang="en-US" sz="1200">
                <a:solidFill>
                  <a:srgbClr val="0073CD"/>
                </a:solidFill>
                <a:latin typeface="Arial"/>
                <a:ea typeface="ＭＳ Ｐゴシック"/>
              </a:rPr>
              <a:t>Programs: </a:t>
            </a:r>
            <a:r>
              <a:rPr lang="en-US" sz="1200" err="1">
                <a:solidFill>
                  <a:srgbClr val="0073CD"/>
                </a:solidFill>
                <a:latin typeface="Arial"/>
                <a:ea typeface="ＭＳ Ｐゴシック"/>
              </a:rPr>
              <a:t>OnMyWay</a:t>
            </a:r>
            <a:r>
              <a:rPr lang="en-US" sz="1200">
                <a:solidFill>
                  <a:srgbClr val="0073CD"/>
                </a:solidFill>
                <a:latin typeface="Arial"/>
                <a:ea typeface="ＭＳ Ｐゴシック"/>
              </a:rPr>
              <a:t>, </a:t>
            </a:r>
            <a:r>
              <a:rPr lang="en-US" sz="1200" err="1">
                <a:solidFill>
                  <a:srgbClr val="0073CD"/>
                </a:solidFill>
                <a:latin typeface="Arial"/>
                <a:ea typeface="ＭＳ Ｐゴシック"/>
              </a:rPr>
              <a:t>FutureNow</a:t>
            </a:r>
            <a:r>
              <a:rPr lang="en-US" sz="1200">
                <a:solidFill>
                  <a:srgbClr val="0073CD"/>
                </a:solidFill>
                <a:latin typeface="Arial"/>
                <a:ea typeface="ＭＳ Ｐゴシック"/>
              </a:rPr>
              <a:t>, VMO, Smart Target etc.</a:t>
            </a:r>
          </a:p>
          <a:p>
            <a:pPr lvl="1" defTabSz="914378">
              <a:buClr>
                <a:srgbClr val="55555A"/>
              </a:buClr>
            </a:pPr>
            <a:r>
              <a:rPr lang="en-US" sz="1400" b="1">
                <a:solidFill>
                  <a:srgbClr val="55555A">
                    <a:lumMod val="50000"/>
                  </a:srgbClr>
                </a:solidFill>
                <a:latin typeface="Arial"/>
                <a:ea typeface="ＭＳ Ｐゴシック"/>
              </a:rPr>
              <a:t>RIO based UK-ET and UK-GT initiatives</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Domains: Customer B2B, Workforce, Asset, Location, Vendor, Product, Reference</a:t>
            </a:r>
          </a:p>
          <a:p>
            <a:pPr lvl="1" defTabSz="914378">
              <a:buClr>
                <a:srgbClr val="55555A"/>
              </a:buClr>
            </a:pPr>
            <a:r>
              <a:rPr lang="en-US" sz="1400" b="1">
                <a:solidFill>
                  <a:srgbClr val="55555A">
                    <a:lumMod val="50000"/>
                  </a:srgbClr>
                </a:solidFill>
                <a:latin typeface="Arial"/>
                <a:ea typeface="ＭＳ Ｐゴシック"/>
              </a:rPr>
              <a:t>ESO</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Domains: Customer B2B, Workforce, Asset, Location,  Reference</a:t>
            </a:r>
          </a:p>
          <a:p>
            <a:pPr lvl="1" defTabSz="914378">
              <a:buClr>
                <a:srgbClr val="55555A"/>
              </a:buClr>
            </a:pPr>
            <a:r>
              <a:rPr lang="en-US" sz="1400" b="1">
                <a:solidFill>
                  <a:srgbClr val="55555A">
                    <a:lumMod val="50000"/>
                  </a:srgbClr>
                </a:solidFill>
                <a:latin typeface="Arial"/>
                <a:ea typeface="ＭＳ Ｐゴシック"/>
              </a:rPr>
              <a:t>Energy Efficiency/Clean Energy initiative</a:t>
            </a:r>
          </a:p>
          <a:p>
            <a:pPr marL="555736" lvl="2" indent="-285743" defTabSz="914378">
              <a:buClr>
                <a:srgbClr val="00148C"/>
              </a:buClr>
              <a:buFont typeface="Wingdings" panose="05000000000000000000" pitchFamily="2" charset="2"/>
              <a:buChar char="ü"/>
            </a:pPr>
            <a:r>
              <a:rPr lang="en-US" sz="1200">
                <a:solidFill>
                  <a:srgbClr val="55555A">
                    <a:lumMod val="50000"/>
                  </a:srgbClr>
                </a:solidFill>
                <a:latin typeface="Arial"/>
                <a:ea typeface="ＭＳ Ｐゴシック"/>
              </a:rPr>
              <a:t>Domains: Customer, Workforce, Reference</a:t>
            </a:r>
          </a:p>
        </p:txBody>
      </p:sp>
      <p:cxnSp>
        <p:nvCxnSpPr>
          <p:cNvPr id="6" name="Straight Connector 5">
            <a:extLst>
              <a:ext uri="{FF2B5EF4-FFF2-40B4-BE49-F238E27FC236}">
                <a16:creationId xmlns:a16="http://schemas.microsoft.com/office/drawing/2014/main" id="{A681D004-0ECF-4917-BF88-3E2D7B1F8A82}"/>
              </a:ext>
            </a:extLst>
          </p:cNvPr>
          <p:cNvCxnSpPr>
            <a:cxnSpLocks/>
          </p:cNvCxnSpPr>
          <p:nvPr/>
        </p:nvCxnSpPr>
        <p:spPr bwMode="auto">
          <a:xfrm>
            <a:off x="4378910" y="482026"/>
            <a:ext cx="0" cy="4134985"/>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081273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561569-37C6-4ED0-A2B1-43BEED16DD0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473" imgH="473" progId="TCLayout.ActiveDocument.1">
                  <p:embed/>
                </p:oleObj>
              </mc:Choice>
              <mc:Fallback>
                <p:oleObj name="think-cell Slide" r:id="rId6" imgW="473" imgH="473" progId="TCLayout.ActiveDocument.1">
                  <p:embed/>
                  <p:pic>
                    <p:nvPicPr>
                      <p:cNvPr id="8" name="Object 7" hidden="1">
                        <a:extLst>
                          <a:ext uri="{FF2B5EF4-FFF2-40B4-BE49-F238E27FC236}">
                            <a16:creationId xmlns:a16="http://schemas.microsoft.com/office/drawing/2014/main" id="{92561569-37C6-4ED0-A2B1-43BEED16DD0E}"/>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F3C9AE3-6766-4CFC-8486-E9456DCFC9E6}"/>
              </a:ext>
            </a:extLst>
          </p:cNvPr>
          <p:cNvSpPr/>
          <p:nvPr>
            <p:custDataLst>
              <p:tags r:id="rId3"/>
            </p:custDataLst>
          </p:nvPr>
        </p:nvSpPr>
        <p:spPr>
          <a:xfrm>
            <a:off x="1" y="1"/>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buClrTx/>
            </a:pPr>
            <a:endParaRPr lang="en-US" sz="2000" kern="1200">
              <a:solidFill>
                <a:srgbClr val="FFFFFF"/>
              </a:solidFill>
              <a:latin typeface="Arial" panose="020B0604020202020204" pitchFamily="34" charset="0"/>
              <a:sym typeface="Arial" panose="020B0604020202020204" pitchFamily="34" charset="0"/>
            </a:endParaRPr>
          </a:p>
        </p:txBody>
      </p:sp>
      <p:sp>
        <p:nvSpPr>
          <p:cNvPr id="32" name="TextBox 31">
            <a:extLst>
              <a:ext uri="{FF2B5EF4-FFF2-40B4-BE49-F238E27FC236}">
                <a16:creationId xmlns:a16="http://schemas.microsoft.com/office/drawing/2014/main" id="{7CB06BC1-708D-4FE4-9683-CDBA5BA98CE3}"/>
              </a:ext>
            </a:extLst>
          </p:cNvPr>
          <p:cNvSpPr txBox="1"/>
          <p:nvPr/>
        </p:nvSpPr>
        <p:spPr>
          <a:xfrm>
            <a:off x="5541908" y="136472"/>
            <a:ext cx="3256131" cy="45982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685783" fontAlgn="auto">
              <a:spcBef>
                <a:spcPts val="0"/>
              </a:spcBef>
              <a:spcAft>
                <a:spcPts val="0"/>
              </a:spcAft>
              <a:buClrTx/>
            </a:pPr>
            <a:r>
              <a:rPr lang="en-US" sz="1400" b="0" i="1" kern="1200">
                <a:solidFill>
                  <a:srgbClr val="FFFFFF"/>
                </a:solidFill>
                <a:latin typeface="Arial" panose="020B0604020202020204"/>
              </a:rPr>
              <a:t>Data driven workplan optimization to achieve our KPIs at lowest cost</a:t>
            </a:r>
          </a:p>
        </p:txBody>
      </p:sp>
      <p:sp>
        <p:nvSpPr>
          <p:cNvPr id="33" name="TextBox 32">
            <a:extLst>
              <a:ext uri="{FF2B5EF4-FFF2-40B4-BE49-F238E27FC236}">
                <a16:creationId xmlns:a16="http://schemas.microsoft.com/office/drawing/2014/main" id="{58BC3819-D378-4376-A87B-7DC63AECA6F0}"/>
              </a:ext>
            </a:extLst>
          </p:cNvPr>
          <p:cNvSpPr txBox="1"/>
          <p:nvPr/>
        </p:nvSpPr>
        <p:spPr>
          <a:xfrm>
            <a:off x="5364430" y="1339987"/>
            <a:ext cx="3533047" cy="17669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Comprehensive and Consolidated  Customer Profile</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Usage Analysis , Insights, History, Feedbacks and Predictions</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Product Catalog and Personalized Product Guidance</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Energy Savings and Incentives</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Customer Balance</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Customer Personalized Messages</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Customer Communication preferences</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Customer Interactions </a:t>
            </a:r>
          </a:p>
          <a:p>
            <a:pPr marL="214313" indent="-214313" defTabSz="685783" fontAlgn="auto">
              <a:spcBef>
                <a:spcPts val="0"/>
              </a:spcBef>
              <a:spcAft>
                <a:spcPts val="0"/>
              </a:spcAft>
              <a:buClrTx/>
              <a:buFont typeface="Arial" panose="020B0604020202020204" pitchFamily="34" charset="0"/>
              <a:buChar char="•"/>
            </a:pPr>
            <a:r>
              <a:rPr lang="en-US" sz="1050" b="0"/>
              <a:t>Compliance with Data BMS </a:t>
            </a:r>
            <a:endParaRPr lang="en-US" sz="1050" b="0" kern="1200">
              <a:solidFill>
                <a:srgbClr val="FFFFFF"/>
              </a:solidFill>
            </a:endParaRPr>
          </a:p>
        </p:txBody>
      </p:sp>
      <p:sp>
        <p:nvSpPr>
          <p:cNvPr id="62" name="Rectangle 61">
            <a:extLst>
              <a:ext uri="{FF2B5EF4-FFF2-40B4-BE49-F238E27FC236}">
                <a16:creationId xmlns:a16="http://schemas.microsoft.com/office/drawing/2014/main" id="{41E72B18-144A-4F31-B0AF-D6A135D2DCF7}"/>
              </a:ext>
            </a:extLst>
          </p:cNvPr>
          <p:cNvSpPr/>
          <p:nvPr/>
        </p:nvSpPr>
        <p:spPr>
          <a:xfrm>
            <a:off x="4867941" y="1361634"/>
            <a:ext cx="382699" cy="1703754"/>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MVP features</a:t>
            </a:r>
          </a:p>
        </p:txBody>
      </p:sp>
      <p:sp>
        <p:nvSpPr>
          <p:cNvPr id="3" name="Rectangle 2">
            <a:extLst>
              <a:ext uri="{FF2B5EF4-FFF2-40B4-BE49-F238E27FC236}">
                <a16:creationId xmlns:a16="http://schemas.microsoft.com/office/drawing/2014/main" id="{95E67E5E-FD71-4F3B-9CF1-14F4BA471396}"/>
              </a:ext>
            </a:extLst>
          </p:cNvPr>
          <p:cNvSpPr/>
          <p:nvPr/>
        </p:nvSpPr>
        <p:spPr>
          <a:xfrm>
            <a:off x="5442472" y="3271280"/>
            <a:ext cx="3455005" cy="1399194"/>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Consolidated integrated Customer data </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Support future customer digital initiatives</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Reduce Mainframe dependency and cost</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Support regulatory demands of the Customer data</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Improve Customer data quality</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Avoid future cost of getting and cleansing the Customer data from legacy systems</a:t>
            </a:r>
          </a:p>
        </p:txBody>
      </p:sp>
      <p:sp>
        <p:nvSpPr>
          <p:cNvPr id="4" name="Rectangle 3">
            <a:extLst>
              <a:ext uri="{FF2B5EF4-FFF2-40B4-BE49-F238E27FC236}">
                <a16:creationId xmlns:a16="http://schemas.microsoft.com/office/drawing/2014/main" id="{AF0A9678-C369-4377-8A5D-49BDD87F082F}"/>
              </a:ext>
            </a:extLst>
          </p:cNvPr>
          <p:cNvSpPr/>
          <p:nvPr/>
        </p:nvSpPr>
        <p:spPr>
          <a:xfrm>
            <a:off x="4867941" y="3271280"/>
            <a:ext cx="382699" cy="1399194"/>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Value</a:t>
            </a:r>
          </a:p>
        </p:txBody>
      </p:sp>
      <p:sp>
        <p:nvSpPr>
          <p:cNvPr id="48" name="Rectangle 47">
            <a:extLst>
              <a:ext uri="{FF2B5EF4-FFF2-40B4-BE49-F238E27FC236}">
                <a16:creationId xmlns:a16="http://schemas.microsoft.com/office/drawing/2014/main" id="{4CBD80EF-9327-441E-9FC6-0483D50546F3}"/>
              </a:ext>
            </a:extLst>
          </p:cNvPr>
          <p:cNvSpPr/>
          <p:nvPr/>
        </p:nvSpPr>
        <p:spPr>
          <a:xfrm>
            <a:off x="5564397" y="646060"/>
            <a:ext cx="715129" cy="2808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5F5A"/>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783" fontAlgn="auto">
              <a:lnSpc>
                <a:spcPct val="90000"/>
              </a:lnSpc>
              <a:spcBef>
                <a:spcPts val="0"/>
              </a:spcBef>
              <a:spcAft>
                <a:spcPts val="750"/>
              </a:spcAft>
              <a:buClrTx/>
            </a:pPr>
            <a:r>
              <a:rPr lang="en-US" sz="800" kern="1200">
                <a:solidFill>
                  <a:srgbClr val="FFFFFF"/>
                </a:solidFill>
                <a:latin typeface="Arial" panose="020B0604020202020204"/>
              </a:rPr>
              <a:t>Customer Service</a:t>
            </a:r>
          </a:p>
        </p:txBody>
      </p:sp>
      <p:sp>
        <p:nvSpPr>
          <p:cNvPr id="50" name="Rectangle 49">
            <a:extLst>
              <a:ext uri="{FF2B5EF4-FFF2-40B4-BE49-F238E27FC236}">
                <a16:creationId xmlns:a16="http://schemas.microsoft.com/office/drawing/2014/main" id="{518CBE4E-46C4-4F91-BD62-72606B842BF4}"/>
              </a:ext>
            </a:extLst>
          </p:cNvPr>
          <p:cNvSpPr/>
          <p:nvPr/>
        </p:nvSpPr>
        <p:spPr>
          <a:xfrm>
            <a:off x="7385891" y="604103"/>
            <a:ext cx="591666" cy="2526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00A78"/>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783" fontAlgn="auto">
              <a:lnSpc>
                <a:spcPct val="90000"/>
              </a:lnSpc>
              <a:spcBef>
                <a:spcPts val="0"/>
              </a:spcBef>
              <a:spcAft>
                <a:spcPts val="750"/>
              </a:spcAft>
              <a:buClrTx/>
            </a:pPr>
            <a:r>
              <a:rPr lang="en-US" sz="800" kern="1200">
                <a:solidFill>
                  <a:srgbClr val="FFFFFF"/>
                </a:solidFill>
                <a:latin typeface="Arial" panose="020B0604020202020204"/>
              </a:rPr>
              <a:t>Billing</a:t>
            </a:r>
          </a:p>
        </p:txBody>
      </p:sp>
      <p:sp>
        <p:nvSpPr>
          <p:cNvPr id="49" name="Rectangle 48">
            <a:extLst>
              <a:ext uri="{FF2B5EF4-FFF2-40B4-BE49-F238E27FC236}">
                <a16:creationId xmlns:a16="http://schemas.microsoft.com/office/drawing/2014/main" id="{9FF96666-8B1C-4F55-85C5-B479496905B8}"/>
              </a:ext>
            </a:extLst>
          </p:cNvPr>
          <p:cNvSpPr/>
          <p:nvPr/>
        </p:nvSpPr>
        <p:spPr>
          <a:xfrm>
            <a:off x="8180761" y="657488"/>
            <a:ext cx="646625" cy="2808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5F5A"/>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783" fontAlgn="auto">
              <a:lnSpc>
                <a:spcPct val="90000"/>
              </a:lnSpc>
              <a:spcBef>
                <a:spcPts val="0"/>
              </a:spcBef>
              <a:spcAft>
                <a:spcPts val="750"/>
              </a:spcAft>
              <a:buClrTx/>
            </a:pPr>
            <a:r>
              <a:rPr lang="en-US" sz="800" kern="1200">
                <a:solidFill>
                  <a:srgbClr val="FFFFFF"/>
                </a:solidFill>
                <a:latin typeface="Arial" panose="020B0604020202020204"/>
              </a:rPr>
              <a:t>Resource Planner</a:t>
            </a:r>
          </a:p>
        </p:txBody>
      </p:sp>
      <p:cxnSp>
        <p:nvCxnSpPr>
          <p:cNvPr id="10" name="Straight Connector 9">
            <a:extLst>
              <a:ext uri="{FF2B5EF4-FFF2-40B4-BE49-F238E27FC236}">
                <a16:creationId xmlns:a16="http://schemas.microsoft.com/office/drawing/2014/main" id="{AC9C2A3C-1F21-48EF-BC8E-5B2A12887982}"/>
              </a:ext>
            </a:extLst>
          </p:cNvPr>
          <p:cNvCxnSpPr/>
          <p:nvPr/>
        </p:nvCxnSpPr>
        <p:spPr>
          <a:xfrm>
            <a:off x="4867941" y="3156196"/>
            <a:ext cx="4029536" cy="0"/>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E27FF39-4F97-4C02-92E0-D8870019F4E1}"/>
              </a:ext>
            </a:extLst>
          </p:cNvPr>
          <p:cNvCxnSpPr/>
          <p:nvPr/>
        </p:nvCxnSpPr>
        <p:spPr>
          <a:xfrm>
            <a:off x="4867941" y="1252460"/>
            <a:ext cx="4029536" cy="0"/>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3FCCD938-1E04-48C6-B472-D3A429E15826}"/>
              </a:ext>
            </a:extLst>
          </p:cNvPr>
          <p:cNvSpPr/>
          <p:nvPr/>
        </p:nvSpPr>
        <p:spPr>
          <a:xfrm>
            <a:off x="4867823" y="530373"/>
            <a:ext cx="382699" cy="634559"/>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Users</a:t>
            </a:r>
          </a:p>
        </p:txBody>
      </p:sp>
      <p:sp>
        <p:nvSpPr>
          <p:cNvPr id="70" name="TextBox 69">
            <a:extLst>
              <a:ext uri="{FF2B5EF4-FFF2-40B4-BE49-F238E27FC236}">
                <a16:creationId xmlns:a16="http://schemas.microsoft.com/office/drawing/2014/main" id="{4277002B-62B2-41E9-830E-0A64F8D36BAD}"/>
              </a:ext>
            </a:extLst>
          </p:cNvPr>
          <p:cNvSpPr txBox="1"/>
          <p:nvPr/>
        </p:nvSpPr>
        <p:spPr>
          <a:xfrm>
            <a:off x="190459" y="419592"/>
            <a:ext cx="3974159" cy="1276295"/>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GB"/>
            </a:defPPr>
            <a:lvl1pPr defTabSz="914377" fontAlgn="auto">
              <a:spcBef>
                <a:spcPts val="0"/>
              </a:spcBef>
              <a:spcAft>
                <a:spcPts val="0"/>
              </a:spcAft>
              <a:buClrTx/>
              <a:defRPr sz="1400" kern="1200">
                <a:solidFill>
                  <a:srgbClr val="55555A"/>
                </a:solidFill>
                <a:latin typeface="Arial" panose="020B0604020202020204"/>
              </a:defRPr>
            </a:lvl1pPr>
          </a:lstStyle>
          <a:p>
            <a:r>
              <a:rPr lang="en-US" sz="1050"/>
              <a:t>Problem Statement</a:t>
            </a:r>
          </a:p>
          <a:p>
            <a:r>
              <a:rPr lang="en-US" sz="1050" b="0"/>
              <a:t>US Customer has two mainframe legacy systems of record (CRIS and CSS). Many times same customer is created in both systems with different Customer Identifier.  There are data quality issues with address, phone, contact etc.  Customer data copied from legacy systems as per needs all over the places.  Many direct interfaces with source systems are created with similar duplicate match and data quality improvements. </a:t>
            </a:r>
            <a:endParaRPr lang="en-US" sz="1050"/>
          </a:p>
        </p:txBody>
      </p:sp>
      <p:sp>
        <p:nvSpPr>
          <p:cNvPr id="9" name="Title 8">
            <a:extLst>
              <a:ext uri="{FF2B5EF4-FFF2-40B4-BE49-F238E27FC236}">
                <a16:creationId xmlns:a16="http://schemas.microsoft.com/office/drawing/2014/main" id="{FEAA0D6E-7A7C-43C7-ABF7-23D840D8CF46}"/>
              </a:ext>
            </a:extLst>
          </p:cNvPr>
          <p:cNvSpPr>
            <a:spLocks noGrp="1"/>
          </p:cNvSpPr>
          <p:nvPr>
            <p:ph type="title"/>
          </p:nvPr>
        </p:nvSpPr>
        <p:spPr>
          <a:xfrm>
            <a:off x="210170" y="93660"/>
            <a:ext cx="3710588" cy="277048"/>
          </a:xfrm>
        </p:spPr>
        <p:txBody>
          <a:bodyPr/>
          <a:lstStyle/>
          <a:p>
            <a:r>
              <a:rPr lang="en-US"/>
              <a:t>MDM MVP 1 – US Customer</a:t>
            </a:r>
          </a:p>
        </p:txBody>
      </p:sp>
      <p:sp>
        <p:nvSpPr>
          <p:cNvPr id="66" name="TextBox 65">
            <a:extLst>
              <a:ext uri="{FF2B5EF4-FFF2-40B4-BE49-F238E27FC236}">
                <a16:creationId xmlns:a16="http://schemas.microsoft.com/office/drawing/2014/main" id="{3732FE95-7FDF-46FF-BD66-87C92769B136}"/>
              </a:ext>
            </a:extLst>
          </p:cNvPr>
          <p:cNvSpPr txBox="1"/>
          <p:nvPr/>
        </p:nvSpPr>
        <p:spPr>
          <a:xfrm>
            <a:off x="190459" y="1838608"/>
            <a:ext cx="3974159" cy="159064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685783" fontAlgn="auto">
              <a:spcBef>
                <a:spcPts val="0"/>
              </a:spcBef>
              <a:spcAft>
                <a:spcPts val="0"/>
              </a:spcAft>
              <a:buClrTx/>
            </a:pPr>
            <a:r>
              <a:rPr lang="en-US" sz="1050" kern="1200">
                <a:solidFill>
                  <a:srgbClr val="55555A"/>
                </a:solidFill>
                <a:latin typeface="Arial" panose="020B0604020202020204"/>
              </a:rPr>
              <a:t>Why It’s a Problem?</a:t>
            </a:r>
            <a:endParaRPr lang="en-US" sz="1050" kern="1200">
              <a:solidFill>
                <a:schemeClr val="tx1"/>
              </a:solidFill>
              <a:latin typeface="Arial" panose="020B0604020202020204"/>
            </a:endParaRPr>
          </a:p>
          <a:p>
            <a:pPr marL="214313" indent="-214313" defTabSz="685783" fontAlgn="auto">
              <a:spcBef>
                <a:spcPts val="0"/>
              </a:spcBef>
              <a:spcAft>
                <a:spcPts val="0"/>
              </a:spcAft>
              <a:buClrTx/>
              <a:buFont typeface="Arial" panose="020B0604020202020204" pitchFamily="34" charset="0"/>
              <a:buChar char="•"/>
            </a:pPr>
            <a:r>
              <a:rPr lang="en-GB" sz="1050" b="0" kern="1200">
                <a:solidFill>
                  <a:srgbClr val="55555A"/>
                </a:solidFill>
                <a:latin typeface="Arial" panose="020B0604020202020204"/>
              </a:rPr>
              <a:t>Customer Data Quality cost about millions of dollars per year</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55555A"/>
                </a:solidFill>
                <a:latin typeface="Arial" panose="020B0604020202020204"/>
              </a:rPr>
              <a:t>No enterprise/unified persistent customer identifier</a:t>
            </a:r>
            <a:endParaRPr lang="en-GB" sz="1050" b="0" kern="1200">
              <a:solidFill>
                <a:srgbClr val="55555A"/>
              </a:solidFill>
              <a:latin typeface="Arial" panose="020B0604020202020204"/>
            </a:endParaRPr>
          </a:p>
          <a:p>
            <a:pPr marL="214313" indent="-214313" defTabSz="685783" fontAlgn="auto">
              <a:spcBef>
                <a:spcPts val="0"/>
              </a:spcBef>
              <a:spcAft>
                <a:spcPts val="0"/>
              </a:spcAft>
              <a:buClrTx/>
              <a:buFont typeface="Arial" panose="020B0604020202020204" pitchFamily="34" charset="0"/>
              <a:buChar char="•"/>
            </a:pPr>
            <a:r>
              <a:rPr lang="en-GB" sz="1050" b="0" kern="1200">
                <a:solidFill>
                  <a:srgbClr val="55555A"/>
                </a:solidFill>
                <a:latin typeface="Arial" panose="020B0604020202020204"/>
              </a:rPr>
              <a:t>Uptime issue as legacy systems down for maintenance routinely </a:t>
            </a:r>
          </a:p>
          <a:p>
            <a:pPr marL="214313" indent="-214313" defTabSz="685783" fontAlgn="auto">
              <a:spcBef>
                <a:spcPts val="0"/>
              </a:spcBef>
              <a:spcAft>
                <a:spcPts val="0"/>
              </a:spcAft>
              <a:buClrTx/>
              <a:buFont typeface="Arial" panose="020B0604020202020204" pitchFamily="34" charset="0"/>
              <a:buChar char="•"/>
            </a:pPr>
            <a:r>
              <a:rPr lang="en-GB" sz="1050" b="0" kern="1200">
                <a:solidFill>
                  <a:srgbClr val="55555A"/>
                </a:solidFill>
                <a:latin typeface="Arial" panose="020B0604020202020204"/>
              </a:rPr>
              <a:t>Customer support costs is high</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55555A"/>
                </a:solidFill>
                <a:latin typeface="Arial" panose="020B0604020202020204"/>
              </a:rPr>
              <a:t>Regulatory demands can’t satisfy because the need for consistency in data management practices (e.g. IEDR)</a:t>
            </a:r>
          </a:p>
          <a:p>
            <a:pPr marL="214313" indent="-214313" defTabSz="685783" fontAlgn="auto">
              <a:spcBef>
                <a:spcPts val="0"/>
              </a:spcBef>
              <a:spcAft>
                <a:spcPts val="0"/>
              </a:spcAft>
              <a:buClrTx/>
              <a:buFont typeface="Arial" panose="020B0604020202020204" pitchFamily="34" charset="0"/>
              <a:buChar char="•"/>
            </a:pPr>
            <a:r>
              <a:rPr lang="en-GB" sz="1050" b="0" kern="1200">
                <a:solidFill>
                  <a:srgbClr val="55555A"/>
                </a:solidFill>
                <a:latin typeface="Arial" panose="020B0604020202020204"/>
              </a:rPr>
              <a:t>Expensive to maintain </a:t>
            </a:r>
            <a:r>
              <a:rPr lang="en-US" sz="1050" b="0" kern="1200">
                <a:solidFill>
                  <a:srgbClr val="55555A"/>
                </a:solidFill>
                <a:latin typeface="Arial" panose="020B0604020202020204"/>
              </a:rPr>
              <a:t>mainframe</a:t>
            </a:r>
            <a:r>
              <a:rPr lang="en-GB" sz="1050" b="0" kern="1200">
                <a:solidFill>
                  <a:srgbClr val="55555A"/>
                </a:solidFill>
                <a:latin typeface="Arial" panose="020B0604020202020204"/>
              </a:rPr>
              <a:t> systems</a:t>
            </a:r>
          </a:p>
          <a:p>
            <a:pPr marL="214313" indent="-214313" defTabSz="685783" fontAlgn="auto">
              <a:spcBef>
                <a:spcPts val="0"/>
              </a:spcBef>
              <a:spcAft>
                <a:spcPts val="0"/>
              </a:spcAft>
              <a:buClrTx/>
              <a:buFont typeface="Arial" panose="020B0604020202020204" pitchFamily="34" charset="0"/>
              <a:buChar char="•"/>
            </a:pPr>
            <a:r>
              <a:rPr lang="en-GB" sz="1050" b="0" kern="1200">
                <a:solidFill>
                  <a:srgbClr val="55555A"/>
                </a:solidFill>
                <a:latin typeface="Arial" panose="020B0604020202020204"/>
              </a:rPr>
              <a:t>Hard to find expertise to support </a:t>
            </a:r>
            <a:r>
              <a:rPr lang="en-US" sz="1050" b="0" kern="1200">
                <a:solidFill>
                  <a:srgbClr val="55555A"/>
                </a:solidFill>
              </a:rPr>
              <a:t>mainframe</a:t>
            </a:r>
            <a:endParaRPr lang="en-GB" sz="1050" b="0" kern="1200">
              <a:solidFill>
                <a:srgbClr val="55555A"/>
              </a:solidFill>
              <a:latin typeface="Arial" panose="020B0604020202020204"/>
            </a:endParaRPr>
          </a:p>
        </p:txBody>
      </p:sp>
      <p:sp>
        <p:nvSpPr>
          <p:cNvPr id="12" name="Rectangle 11">
            <a:extLst>
              <a:ext uri="{FF2B5EF4-FFF2-40B4-BE49-F238E27FC236}">
                <a16:creationId xmlns:a16="http://schemas.microsoft.com/office/drawing/2014/main" id="{C4299A37-20D5-4432-8EF2-EEA427EBFF2F}"/>
              </a:ext>
            </a:extLst>
          </p:cNvPr>
          <p:cNvSpPr/>
          <p:nvPr/>
        </p:nvSpPr>
        <p:spPr>
          <a:xfrm>
            <a:off x="1438181" y="3614750"/>
            <a:ext cx="2726436" cy="938719"/>
          </a:xfrm>
          <a:prstGeom prst="rect">
            <a:avLst/>
          </a:prstGeom>
        </p:spPr>
        <p:txBody>
          <a:bodyPr wrap="square">
            <a:spAutoFit/>
          </a:bodyPr>
          <a:lstStyle/>
          <a:p>
            <a:pPr defTabSz="685783" fontAlgn="auto">
              <a:spcBef>
                <a:spcPts val="0"/>
              </a:spcBef>
              <a:buClrTx/>
            </a:pPr>
            <a:r>
              <a:rPr lang="en-US" sz="900" b="0" i="1" kern="1200">
                <a:solidFill>
                  <a:schemeClr val="accent1">
                    <a:lumMod val="50000"/>
                  </a:schemeClr>
                </a:solidFill>
              </a:rPr>
              <a:t>“I don’t know why we don’t have your updated information?” </a:t>
            </a:r>
          </a:p>
          <a:p>
            <a:pPr defTabSz="685783" fontAlgn="auto">
              <a:spcBef>
                <a:spcPts val="0"/>
              </a:spcBef>
              <a:buClrTx/>
            </a:pPr>
            <a:r>
              <a:rPr lang="en-US" sz="900" b="0" i="1" kern="1200">
                <a:solidFill>
                  <a:schemeClr val="accent1">
                    <a:lumMod val="50000"/>
                  </a:schemeClr>
                </a:solidFill>
              </a:rPr>
              <a:t>“Are you the same John Smith that also has gas service at….”</a:t>
            </a:r>
          </a:p>
          <a:p>
            <a:pPr defTabSz="685783" fontAlgn="auto">
              <a:spcBef>
                <a:spcPts val="0"/>
              </a:spcBef>
              <a:buClrTx/>
            </a:pPr>
            <a:r>
              <a:rPr lang="en-US" sz="900" b="0" i="1" kern="1200">
                <a:solidFill>
                  <a:schemeClr val="accent1">
                    <a:lumMod val="50000"/>
                  </a:schemeClr>
                </a:solidFill>
              </a:rPr>
              <a:t>“Why do I need two separate accounts?”</a:t>
            </a:r>
          </a:p>
        </p:txBody>
      </p:sp>
      <p:pic>
        <p:nvPicPr>
          <p:cNvPr id="14" name="Picture 13">
            <a:extLst>
              <a:ext uri="{FF2B5EF4-FFF2-40B4-BE49-F238E27FC236}">
                <a16:creationId xmlns:a16="http://schemas.microsoft.com/office/drawing/2014/main" id="{2A6865AD-0BDB-4785-82A3-E44061399B9D}"/>
              </a:ext>
            </a:extLst>
          </p:cNvPr>
          <p:cNvPicPr>
            <a:picLocks noChangeAspect="1"/>
          </p:cNvPicPr>
          <p:nvPr/>
        </p:nvPicPr>
        <p:blipFill>
          <a:blip r:embed="rId8"/>
          <a:stretch>
            <a:fillRect/>
          </a:stretch>
        </p:blipFill>
        <p:spPr>
          <a:xfrm>
            <a:off x="210170" y="3596615"/>
            <a:ext cx="1217868" cy="898776"/>
          </a:xfrm>
          <a:prstGeom prst="rect">
            <a:avLst/>
          </a:prstGeom>
        </p:spPr>
      </p:pic>
      <p:sp>
        <p:nvSpPr>
          <p:cNvPr id="23" name="Rectangle 22">
            <a:extLst>
              <a:ext uri="{FF2B5EF4-FFF2-40B4-BE49-F238E27FC236}">
                <a16:creationId xmlns:a16="http://schemas.microsoft.com/office/drawing/2014/main" id="{BBB29DE1-9C01-4474-92E6-CF7E901B49BB}"/>
              </a:ext>
            </a:extLst>
          </p:cNvPr>
          <p:cNvSpPr/>
          <p:nvPr/>
        </p:nvSpPr>
        <p:spPr>
          <a:xfrm>
            <a:off x="6508243" y="664803"/>
            <a:ext cx="634196" cy="1846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00A78"/>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defTabSz="685783" fontAlgn="auto">
              <a:lnSpc>
                <a:spcPct val="90000"/>
              </a:lnSpc>
              <a:spcBef>
                <a:spcPts val="0"/>
              </a:spcBef>
              <a:spcAft>
                <a:spcPts val="750"/>
              </a:spcAft>
              <a:buClrTx/>
            </a:pPr>
            <a:r>
              <a:rPr lang="en-US" sz="800" kern="1200">
                <a:solidFill>
                  <a:srgbClr val="FFFFFF"/>
                </a:solidFill>
                <a:latin typeface="Arial" panose="020B0604020202020204"/>
              </a:rPr>
              <a:t>Customer</a:t>
            </a:r>
          </a:p>
        </p:txBody>
      </p:sp>
      <p:pic>
        <p:nvPicPr>
          <p:cNvPr id="18" name="Graphic 17" descr="School boy">
            <a:extLst>
              <a:ext uri="{FF2B5EF4-FFF2-40B4-BE49-F238E27FC236}">
                <a16:creationId xmlns:a16="http://schemas.microsoft.com/office/drawing/2014/main" id="{E1AF9B48-1C0D-4FA0-AD68-88758740267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84736" y="845767"/>
            <a:ext cx="300146" cy="300146"/>
          </a:xfrm>
          <a:prstGeom prst="rect">
            <a:avLst/>
          </a:prstGeom>
        </p:spPr>
      </p:pic>
      <p:pic>
        <p:nvPicPr>
          <p:cNvPr id="20" name="Graphic 19" descr="School girl">
            <a:extLst>
              <a:ext uri="{FF2B5EF4-FFF2-40B4-BE49-F238E27FC236}">
                <a16:creationId xmlns:a16="http://schemas.microsoft.com/office/drawing/2014/main" id="{7C356118-76C3-4C13-8AF7-612225CCC66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67656" y="845841"/>
            <a:ext cx="305753" cy="305753"/>
          </a:xfrm>
          <a:prstGeom prst="rect">
            <a:avLst/>
          </a:prstGeom>
        </p:spPr>
      </p:pic>
      <p:sp>
        <p:nvSpPr>
          <p:cNvPr id="73" name="TextBox 72">
            <a:extLst>
              <a:ext uri="{FF2B5EF4-FFF2-40B4-BE49-F238E27FC236}">
                <a16:creationId xmlns:a16="http://schemas.microsoft.com/office/drawing/2014/main" id="{9B9AB104-8D6A-4DB9-90AD-C4533E55A6CF}"/>
              </a:ext>
            </a:extLst>
          </p:cNvPr>
          <p:cNvSpPr txBox="1"/>
          <p:nvPr/>
        </p:nvSpPr>
        <p:spPr bwMode="auto">
          <a:xfrm>
            <a:off x="4653337" y="4941478"/>
            <a:ext cx="4522565"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750" b="0">
                <a:solidFill>
                  <a:srgbClr val="FFFFFF"/>
                </a:solidFill>
              </a:rPr>
              <a:t>Lower Cost                      Improve Experience                      Improve Quality                        New Feature</a:t>
            </a:r>
            <a:endParaRPr lang="en-US" sz="750">
              <a:solidFill>
                <a:srgbClr val="FFFFFF"/>
              </a:solidFill>
              <a:cs typeface="Arial" panose="020B0604020202020204"/>
            </a:endParaRPr>
          </a:p>
        </p:txBody>
      </p:sp>
      <p:pic>
        <p:nvPicPr>
          <p:cNvPr id="26" name="Graphic 25" descr="Downward trend">
            <a:extLst>
              <a:ext uri="{FF2B5EF4-FFF2-40B4-BE49-F238E27FC236}">
                <a16:creationId xmlns:a16="http://schemas.microsoft.com/office/drawing/2014/main" id="{AD898238-05B4-4305-A38C-8D688130A52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75416" y="4867802"/>
            <a:ext cx="238048" cy="238048"/>
          </a:xfrm>
          <a:prstGeom prst="rect">
            <a:avLst/>
          </a:prstGeom>
        </p:spPr>
      </p:pic>
      <p:pic>
        <p:nvPicPr>
          <p:cNvPr id="7" name="Graphic 6" descr="Shooting star">
            <a:extLst>
              <a:ext uri="{FF2B5EF4-FFF2-40B4-BE49-F238E27FC236}">
                <a16:creationId xmlns:a16="http://schemas.microsoft.com/office/drawing/2014/main" id="{B00F6DBA-03CC-4A6C-87B0-7EFA1087120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822121" y="4874798"/>
            <a:ext cx="266668" cy="266668"/>
          </a:xfrm>
          <a:prstGeom prst="rect">
            <a:avLst/>
          </a:prstGeom>
        </p:spPr>
      </p:pic>
      <p:pic>
        <p:nvPicPr>
          <p:cNvPr id="22" name="Graphic 21" descr="Meeting">
            <a:extLst>
              <a:ext uri="{FF2B5EF4-FFF2-40B4-BE49-F238E27FC236}">
                <a16:creationId xmlns:a16="http://schemas.microsoft.com/office/drawing/2014/main" id="{DCE9BA0E-4485-4964-A6E9-49F12AA72F0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55761" y="847522"/>
            <a:ext cx="316803" cy="316803"/>
          </a:xfrm>
          <a:prstGeom prst="rect">
            <a:avLst/>
          </a:prstGeom>
        </p:spPr>
      </p:pic>
      <p:pic>
        <p:nvPicPr>
          <p:cNvPr id="25" name="Graphic 24" descr="Lightbulb and gear">
            <a:extLst>
              <a:ext uri="{FF2B5EF4-FFF2-40B4-BE49-F238E27FC236}">
                <a16:creationId xmlns:a16="http://schemas.microsoft.com/office/drawing/2014/main" id="{26C45099-36C1-4109-8772-CC6B000A42C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128970" y="4866823"/>
            <a:ext cx="266668" cy="266668"/>
          </a:xfrm>
          <a:prstGeom prst="rect">
            <a:avLst/>
          </a:prstGeom>
        </p:spPr>
      </p:pic>
      <p:pic>
        <p:nvPicPr>
          <p:cNvPr id="28" name="Graphic 27" descr="Piggy Bank">
            <a:extLst>
              <a:ext uri="{FF2B5EF4-FFF2-40B4-BE49-F238E27FC236}">
                <a16:creationId xmlns:a16="http://schemas.microsoft.com/office/drawing/2014/main" id="{AE89165A-2BC1-4997-896D-591D507AB69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546597" y="836735"/>
            <a:ext cx="316805" cy="316805"/>
          </a:xfrm>
          <a:prstGeom prst="rect">
            <a:avLst/>
          </a:prstGeom>
        </p:spPr>
      </p:pic>
      <p:pic>
        <p:nvPicPr>
          <p:cNvPr id="30" name="Graphic 29" descr="Gauge">
            <a:extLst>
              <a:ext uri="{FF2B5EF4-FFF2-40B4-BE49-F238E27FC236}">
                <a16:creationId xmlns:a16="http://schemas.microsoft.com/office/drawing/2014/main" id="{63BC278F-01E6-4580-90CB-3D25C9C28E1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396333" y="4834486"/>
            <a:ext cx="277990" cy="277990"/>
          </a:xfrm>
          <a:prstGeom prst="rect">
            <a:avLst/>
          </a:prstGeom>
        </p:spPr>
      </p:pic>
      <p:pic>
        <p:nvPicPr>
          <p:cNvPr id="43" name="Graphic 42" descr="Lightbulb and gear">
            <a:extLst>
              <a:ext uri="{FF2B5EF4-FFF2-40B4-BE49-F238E27FC236}">
                <a16:creationId xmlns:a16="http://schemas.microsoft.com/office/drawing/2014/main" id="{C6B064A0-D057-4A5C-BBFA-F3C2D1B8019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704800" y="3554286"/>
            <a:ext cx="164480" cy="164480"/>
          </a:xfrm>
          <a:prstGeom prst="rect">
            <a:avLst/>
          </a:prstGeom>
        </p:spPr>
      </p:pic>
      <p:pic>
        <p:nvPicPr>
          <p:cNvPr id="44" name="Graphic 43" descr="Gauge">
            <a:extLst>
              <a:ext uri="{FF2B5EF4-FFF2-40B4-BE49-F238E27FC236}">
                <a16:creationId xmlns:a16="http://schemas.microsoft.com/office/drawing/2014/main" id="{6C59D465-C147-4273-B617-549551A7D04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182596" y="3901455"/>
            <a:ext cx="179824" cy="179824"/>
          </a:xfrm>
          <a:prstGeom prst="rect">
            <a:avLst/>
          </a:prstGeom>
        </p:spPr>
      </p:pic>
      <p:pic>
        <p:nvPicPr>
          <p:cNvPr id="45" name="Graphic 44" descr="Shooting star">
            <a:extLst>
              <a:ext uri="{FF2B5EF4-FFF2-40B4-BE49-F238E27FC236}">
                <a16:creationId xmlns:a16="http://schemas.microsoft.com/office/drawing/2014/main" id="{21D6060E-2D89-468D-929F-AFFAC941725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223903" y="4084850"/>
            <a:ext cx="164480" cy="164480"/>
          </a:xfrm>
          <a:prstGeom prst="rect">
            <a:avLst/>
          </a:prstGeom>
        </p:spPr>
      </p:pic>
      <p:pic>
        <p:nvPicPr>
          <p:cNvPr id="46" name="Graphic 45" descr="Downward trend">
            <a:extLst>
              <a:ext uri="{FF2B5EF4-FFF2-40B4-BE49-F238E27FC236}">
                <a16:creationId xmlns:a16="http://schemas.microsoft.com/office/drawing/2014/main" id="{20BDEAAC-ACDE-4875-B43F-036EC2439F6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722907" y="3733794"/>
            <a:ext cx="164480" cy="164480"/>
          </a:xfrm>
          <a:prstGeom prst="rect">
            <a:avLst/>
          </a:prstGeom>
        </p:spPr>
      </p:pic>
      <p:pic>
        <p:nvPicPr>
          <p:cNvPr id="47" name="Graphic 46" descr="Downward trend">
            <a:extLst>
              <a:ext uri="{FF2B5EF4-FFF2-40B4-BE49-F238E27FC236}">
                <a16:creationId xmlns:a16="http://schemas.microsoft.com/office/drawing/2014/main" id="{350140F7-8CFF-423C-B67D-45D07E838AB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690810" y="4404392"/>
            <a:ext cx="164480" cy="164480"/>
          </a:xfrm>
          <a:prstGeom prst="rect">
            <a:avLst/>
          </a:prstGeom>
        </p:spPr>
      </p:pic>
      <p:pic>
        <p:nvPicPr>
          <p:cNvPr id="53" name="Graphic 52" descr="Lightbulb and gear">
            <a:extLst>
              <a:ext uri="{FF2B5EF4-FFF2-40B4-BE49-F238E27FC236}">
                <a16:creationId xmlns:a16="http://schemas.microsoft.com/office/drawing/2014/main" id="{5285F743-B1F5-410A-B1F7-740B1DEE775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23933" y="3374671"/>
            <a:ext cx="164480" cy="164480"/>
          </a:xfrm>
          <a:prstGeom prst="rect">
            <a:avLst/>
          </a:prstGeom>
        </p:spPr>
      </p:pic>
    </p:spTree>
    <p:extLst>
      <p:ext uri="{BB962C8B-B14F-4D97-AF65-F5344CB8AC3E}">
        <p14:creationId xmlns:p14="http://schemas.microsoft.com/office/powerpoint/2010/main" val="1080840361"/>
      </p:ext>
    </p:extLst>
  </p:cSld>
  <p:clrMapOvr>
    <a:masterClrMapping/>
  </p:clrMapOvr>
  <mc:AlternateContent xmlns:mc="http://schemas.openxmlformats.org/markup-compatibility/2006" xmlns:p14="http://schemas.microsoft.com/office/powerpoint/2010/main">
    <mc:Choice Requires="p14">
      <p:transition p14:dur="250" advTm="59">
        <p:fade/>
      </p:transition>
    </mc:Choice>
    <mc:Fallback xmlns="">
      <p:transition advTm="59">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561569-37C6-4ED0-A2B1-43BEED16DD0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92561569-37C6-4ED0-A2B1-43BEED16DD0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F3C9AE3-6766-4CFC-8486-E9456DCFC9E6}"/>
              </a:ext>
            </a:extLst>
          </p:cNvPr>
          <p:cNvSpPr/>
          <p:nvPr>
            <p:custDataLst>
              <p:tags r:id="rId3"/>
            </p:custDataLst>
          </p:nvPr>
        </p:nvSpPr>
        <p:spPr>
          <a:xfrm>
            <a:off x="1" y="1"/>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buClrTx/>
            </a:pPr>
            <a:endParaRPr lang="en-US" sz="2000" kern="1200">
              <a:solidFill>
                <a:srgbClr val="FFFFFF"/>
              </a:solidFill>
              <a:latin typeface="Arial" panose="020B0604020202020204" pitchFamily="34" charset="0"/>
              <a:sym typeface="Arial" panose="020B0604020202020204" pitchFamily="34" charset="0"/>
            </a:endParaRPr>
          </a:p>
        </p:txBody>
      </p:sp>
      <p:sp>
        <p:nvSpPr>
          <p:cNvPr id="48" name="Rectangle 47">
            <a:extLst>
              <a:ext uri="{FF2B5EF4-FFF2-40B4-BE49-F238E27FC236}">
                <a16:creationId xmlns:a16="http://schemas.microsoft.com/office/drawing/2014/main" id="{4CBD80EF-9327-441E-9FC6-0483D50546F3}"/>
              </a:ext>
            </a:extLst>
          </p:cNvPr>
          <p:cNvSpPr/>
          <p:nvPr/>
        </p:nvSpPr>
        <p:spPr>
          <a:xfrm>
            <a:off x="5508407" y="523274"/>
            <a:ext cx="851505" cy="2808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5F5A"/>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783" fontAlgn="auto">
              <a:lnSpc>
                <a:spcPct val="90000"/>
              </a:lnSpc>
              <a:spcBef>
                <a:spcPts val="0"/>
              </a:spcBef>
              <a:spcAft>
                <a:spcPts val="750"/>
              </a:spcAft>
              <a:buClrTx/>
            </a:pPr>
            <a:r>
              <a:rPr lang="en-US" sz="800" kern="1200">
                <a:solidFill>
                  <a:srgbClr val="FFFFFF"/>
                </a:solidFill>
                <a:latin typeface="Arial" panose="020B0604020202020204"/>
              </a:rPr>
              <a:t>Field Workers</a:t>
            </a:r>
          </a:p>
        </p:txBody>
      </p:sp>
      <p:sp>
        <p:nvSpPr>
          <p:cNvPr id="70" name="TextBox 69">
            <a:extLst>
              <a:ext uri="{FF2B5EF4-FFF2-40B4-BE49-F238E27FC236}">
                <a16:creationId xmlns:a16="http://schemas.microsoft.com/office/drawing/2014/main" id="{4277002B-62B2-41E9-830E-0A64F8D36BAD}"/>
              </a:ext>
            </a:extLst>
          </p:cNvPr>
          <p:cNvSpPr txBox="1"/>
          <p:nvPr/>
        </p:nvSpPr>
        <p:spPr>
          <a:xfrm>
            <a:off x="190459" y="442203"/>
            <a:ext cx="3974159" cy="1408078"/>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GB"/>
            </a:defPPr>
            <a:lvl1pPr defTabSz="914377" fontAlgn="auto">
              <a:spcBef>
                <a:spcPts val="0"/>
              </a:spcBef>
              <a:spcAft>
                <a:spcPts val="0"/>
              </a:spcAft>
              <a:buClrTx/>
              <a:defRPr sz="1400" kern="1200">
                <a:solidFill>
                  <a:srgbClr val="55555A"/>
                </a:solidFill>
                <a:latin typeface="Arial" panose="020B0604020202020204"/>
              </a:defRPr>
            </a:lvl1pPr>
          </a:lstStyle>
          <a:p>
            <a:r>
              <a:rPr lang="en-US" sz="1050"/>
              <a:t>Use Case Description</a:t>
            </a:r>
          </a:p>
          <a:p>
            <a:r>
              <a:rPr lang="en-US" sz="1050" b="0">
                <a:solidFill>
                  <a:schemeClr val="tx1"/>
                </a:solidFill>
              </a:rPr>
              <a:t>Electric &amp; Gas asset data are managed and stored in multiple systems of records like </a:t>
            </a:r>
            <a:r>
              <a:rPr lang="en-US" sz="1050" b="0" err="1">
                <a:solidFill>
                  <a:schemeClr val="tx1"/>
                </a:solidFill>
              </a:rPr>
              <a:t>PowerPlan</a:t>
            </a:r>
            <a:r>
              <a:rPr lang="en-US" sz="1050" b="0">
                <a:solidFill>
                  <a:schemeClr val="tx1"/>
                </a:solidFill>
              </a:rPr>
              <a:t>, GIS, </a:t>
            </a:r>
            <a:r>
              <a:rPr lang="en-US" sz="1050" b="0" err="1">
                <a:solidFill>
                  <a:schemeClr val="tx1"/>
                </a:solidFill>
              </a:rPr>
              <a:t>Casecade</a:t>
            </a:r>
            <a:r>
              <a:rPr lang="en-US" sz="1050" b="0">
                <a:solidFill>
                  <a:schemeClr val="tx1"/>
                </a:solidFill>
              </a:rPr>
              <a:t>, </a:t>
            </a:r>
            <a:r>
              <a:rPr lang="en-US" sz="1050" b="0" err="1"/>
              <a:t>Computapole</a:t>
            </a:r>
            <a:r>
              <a:rPr lang="en-US" sz="1050" b="0"/>
              <a:t>, Maximo, STORMS, SAP etc</a:t>
            </a:r>
            <a:r>
              <a:rPr lang="en-US" sz="1050" b="0">
                <a:solidFill>
                  <a:schemeClr val="tx1"/>
                </a:solidFill>
              </a:rPr>
              <a:t>.  There are many data quality issues </a:t>
            </a:r>
            <a:r>
              <a:rPr lang="en-US" sz="1050" b="0" err="1">
                <a:solidFill>
                  <a:schemeClr val="tx1"/>
                </a:solidFill>
              </a:rPr>
              <a:t>e.g</a:t>
            </a:r>
            <a:r>
              <a:rPr lang="en-US" sz="1050" b="0">
                <a:solidFill>
                  <a:schemeClr val="tx1"/>
                </a:solidFill>
              </a:rPr>
              <a:t> Asset identifier, Name etc.  There are foundational, operational and regulatory requirements of having Asset master data clean, accurate, and integrated with Customer and Workforce master data at one place.</a:t>
            </a:r>
          </a:p>
          <a:p>
            <a:endParaRPr lang="en-US" sz="1050"/>
          </a:p>
        </p:txBody>
      </p:sp>
      <p:sp>
        <p:nvSpPr>
          <p:cNvPr id="9" name="Title 8">
            <a:extLst>
              <a:ext uri="{FF2B5EF4-FFF2-40B4-BE49-F238E27FC236}">
                <a16:creationId xmlns:a16="http://schemas.microsoft.com/office/drawing/2014/main" id="{FEAA0D6E-7A7C-43C7-ABF7-23D840D8CF46}"/>
              </a:ext>
            </a:extLst>
          </p:cNvPr>
          <p:cNvSpPr>
            <a:spLocks noGrp="1"/>
          </p:cNvSpPr>
          <p:nvPr>
            <p:ph type="title"/>
          </p:nvPr>
        </p:nvSpPr>
        <p:spPr>
          <a:xfrm>
            <a:off x="210169" y="93660"/>
            <a:ext cx="4127915" cy="277048"/>
          </a:xfrm>
        </p:spPr>
        <p:txBody>
          <a:bodyPr/>
          <a:lstStyle/>
          <a:p>
            <a:r>
              <a:rPr lang="en-US"/>
              <a:t>MDM MVP 2 – US Asset/Location</a:t>
            </a:r>
          </a:p>
        </p:txBody>
      </p:sp>
      <p:sp>
        <p:nvSpPr>
          <p:cNvPr id="66" name="TextBox 65">
            <a:extLst>
              <a:ext uri="{FF2B5EF4-FFF2-40B4-BE49-F238E27FC236}">
                <a16:creationId xmlns:a16="http://schemas.microsoft.com/office/drawing/2014/main" id="{3732FE95-7FDF-46FF-BD66-87C92769B136}"/>
              </a:ext>
            </a:extLst>
          </p:cNvPr>
          <p:cNvSpPr txBox="1"/>
          <p:nvPr/>
        </p:nvSpPr>
        <p:spPr>
          <a:xfrm>
            <a:off x="193840" y="1930915"/>
            <a:ext cx="3970778" cy="1201362"/>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685783" fontAlgn="auto">
              <a:spcBef>
                <a:spcPts val="0"/>
              </a:spcBef>
              <a:spcAft>
                <a:spcPts val="0"/>
              </a:spcAft>
              <a:buClrTx/>
            </a:pPr>
            <a:r>
              <a:rPr lang="en-US" sz="1050" kern="1200">
                <a:solidFill>
                  <a:srgbClr val="55555A"/>
                </a:solidFill>
                <a:latin typeface="Arial" panose="020B0604020202020204"/>
              </a:rPr>
              <a:t>Why is this a Problem?</a:t>
            </a:r>
            <a:endParaRPr lang="en-US" sz="1050" kern="1200">
              <a:solidFill>
                <a:schemeClr val="tx1"/>
              </a:solidFill>
              <a:latin typeface="Arial" panose="020B0604020202020204"/>
            </a:endParaRPr>
          </a:p>
          <a:p>
            <a:pPr marL="214313" indent="-214313" defTabSz="685783" fontAlgn="auto">
              <a:spcBef>
                <a:spcPts val="0"/>
              </a:spcBef>
              <a:spcAft>
                <a:spcPts val="0"/>
              </a:spcAft>
              <a:buClrTx/>
              <a:buFont typeface="Arial" panose="020B0604020202020204" pitchFamily="34" charset="0"/>
              <a:buChar char="•"/>
            </a:pPr>
            <a:r>
              <a:rPr lang="en-GB" sz="1050" b="0">
                <a:solidFill>
                  <a:schemeClr val="tx1"/>
                </a:solidFill>
                <a:latin typeface="Arial" panose="020B0604020202020204" pitchFamily="34" charset="0"/>
                <a:ea typeface="MS Gothic" panose="020B0609070205080204" pitchFamily="49" charset="-128"/>
                <a:cs typeface="Arial" panose="020B0604020202020204" pitchFamily="34" charset="0"/>
              </a:rPr>
              <a:t>Worker Data Quality cost about millions of dollars per year</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55555A"/>
                </a:solidFill>
              </a:rPr>
              <a:t>No enterprise/unified persistent Asset identifier</a:t>
            </a:r>
            <a:endParaRPr lang="en-GB" sz="1050" b="0">
              <a:solidFill>
                <a:schemeClr val="tx1"/>
              </a:solidFill>
              <a:latin typeface="Arial" panose="020B0604020202020204" pitchFamily="34" charset="0"/>
              <a:ea typeface="MS Gothic" panose="020B0609070205080204" pitchFamily="49" charset="-128"/>
              <a:cs typeface="Arial" panose="020B0604020202020204" pitchFamily="34" charset="0"/>
            </a:endParaRPr>
          </a:p>
          <a:p>
            <a:pPr marL="214313" indent="-214313" defTabSz="685783" fontAlgn="auto">
              <a:spcBef>
                <a:spcPts val="0"/>
              </a:spcBef>
              <a:spcAft>
                <a:spcPts val="0"/>
              </a:spcAft>
              <a:buClrTx/>
              <a:buFont typeface="Arial" panose="020B0604020202020204" pitchFamily="34" charset="0"/>
              <a:buChar char="•"/>
            </a:pPr>
            <a:r>
              <a:rPr lang="en-US" sz="1050" b="0">
                <a:solidFill>
                  <a:schemeClr val="tx1"/>
                </a:solidFill>
                <a:latin typeface="Arial" panose="020B0604020202020204" pitchFamily="34" charset="0"/>
                <a:ea typeface="MS Gothic" panose="020B0609070205080204" pitchFamily="49" charset="-128"/>
                <a:cs typeface="Arial" panose="020B0604020202020204" pitchFamily="34" charset="0"/>
              </a:rPr>
              <a:t>Many direct interfaces from multiple source systems causes much longer to support new and future functionalities</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55555A"/>
                </a:solidFill>
              </a:rPr>
              <a:t>Regulatory demands can’t satisfy</a:t>
            </a:r>
            <a:endParaRPr lang="en-GB" sz="1050" b="0">
              <a:solidFill>
                <a:schemeClr val="tx1"/>
              </a:solidFill>
              <a:latin typeface="Arial" panose="020B0604020202020204" pitchFamily="34" charset="0"/>
              <a:ea typeface="MS Gothic" panose="020B0609070205080204" pitchFamily="49" charset="-128"/>
              <a:cs typeface="Arial" panose="020B0604020202020204" pitchFamily="34" charset="0"/>
            </a:endParaRPr>
          </a:p>
          <a:p>
            <a:pPr marL="214313" indent="-214313" defTabSz="685783" fontAlgn="auto">
              <a:spcBef>
                <a:spcPts val="0"/>
              </a:spcBef>
              <a:spcAft>
                <a:spcPts val="0"/>
              </a:spcAft>
              <a:buClrTx/>
              <a:buFont typeface="Arial" panose="020B0604020202020204" pitchFamily="34" charset="0"/>
              <a:buChar char="•"/>
            </a:pPr>
            <a:r>
              <a:rPr lang="en-GB" sz="1050" b="0" kern="1200">
                <a:solidFill>
                  <a:schemeClr val="tx1"/>
                </a:solidFill>
                <a:latin typeface="Arial" panose="020B0604020202020204" pitchFamily="34" charset="0"/>
                <a:ea typeface="MS Gothic" panose="020B0609070205080204" pitchFamily="49" charset="-128"/>
                <a:cs typeface="Arial" panose="020B0604020202020204" pitchFamily="34" charset="0"/>
              </a:rPr>
              <a:t>High Asset systems support Costs </a:t>
            </a:r>
          </a:p>
        </p:txBody>
      </p:sp>
      <p:sp>
        <p:nvSpPr>
          <p:cNvPr id="12" name="Rectangle 11">
            <a:extLst>
              <a:ext uri="{FF2B5EF4-FFF2-40B4-BE49-F238E27FC236}">
                <a16:creationId xmlns:a16="http://schemas.microsoft.com/office/drawing/2014/main" id="{C4299A37-20D5-4432-8EF2-EEA427EBFF2F}"/>
              </a:ext>
            </a:extLst>
          </p:cNvPr>
          <p:cNvSpPr/>
          <p:nvPr/>
        </p:nvSpPr>
        <p:spPr>
          <a:xfrm>
            <a:off x="1438182" y="3224875"/>
            <a:ext cx="2726436" cy="1708160"/>
          </a:xfrm>
          <a:prstGeom prst="rect">
            <a:avLst/>
          </a:prstGeom>
        </p:spPr>
        <p:txBody>
          <a:bodyPr wrap="square">
            <a:spAutoFit/>
          </a:bodyPr>
          <a:lstStyle/>
          <a:p>
            <a:pPr defTabSz="685783" fontAlgn="auto">
              <a:spcBef>
                <a:spcPts val="0"/>
              </a:spcBef>
              <a:buClrTx/>
            </a:pPr>
            <a:r>
              <a:rPr lang="en-US" sz="900" b="0" i="1" kern="1200">
                <a:solidFill>
                  <a:schemeClr val="accent1">
                    <a:lumMod val="50000"/>
                  </a:schemeClr>
                </a:solidFill>
              </a:rPr>
              <a:t>“ How do I get unique asset record?”</a:t>
            </a:r>
          </a:p>
          <a:p>
            <a:pPr defTabSz="685783" fontAlgn="auto">
              <a:spcBef>
                <a:spcPts val="0"/>
              </a:spcBef>
              <a:buClrTx/>
            </a:pPr>
            <a:r>
              <a:rPr lang="en-US" sz="900" b="0" i="1" kern="1200">
                <a:solidFill>
                  <a:schemeClr val="accent1">
                    <a:lumMod val="50000"/>
                  </a:schemeClr>
                </a:solidFill>
              </a:rPr>
              <a:t>“Sometimes Asset  record is bundle of assets and sometimes individual asset”</a:t>
            </a:r>
          </a:p>
          <a:p>
            <a:pPr defTabSz="685783" fontAlgn="auto">
              <a:spcBef>
                <a:spcPts val="0"/>
              </a:spcBef>
              <a:buClrTx/>
            </a:pPr>
            <a:r>
              <a:rPr lang="en-US" sz="900" b="0" i="1" kern="1200">
                <a:solidFill>
                  <a:schemeClr val="accent1">
                    <a:lumMod val="50000"/>
                  </a:schemeClr>
                </a:solidFill>
              </a:rPr>
              <a:t>“Disparities of regulatory reporting classifications in these applications”</a:t>
            </a:r>
          </a:p>
          <a:p>
            <a:pPr defTabSz="685783" fontAlgn="auto">
              <a:spcBef>
                <a:spcPts val="0"/>
              </a:spcBef>
              <a:buClrTx/>
            </a:pPr>
            <a:r>
              <a:rPr lang="en-GB" sz="900" b="0" i="1" kern="1200">
                <a:solidFill>
                  <a:schemeClr val="accent1">
                    <a:lumMod val="50000"/>
                  </a:schemeClr>
                </a:solidFill>
              </a:rPr>
              <a:t>“How can I get important asset related answers to questions like "when do we expect to replace this asset?" or "where do we have the highest concentration of asset health-related risk?" without lots of manual work?”</a:t>
            </a:r>
            <a:endParaRPr lang="en-US" sz="900" b="0" i="1" kern="1200">
              <a:solidFill>
                <a:schemeClr val="accent1">
                  <a:lumMod val="50000"/>
                </a:schemeClr>
              </a:solidFill>
            </a:endParaRPr>
          </a:p>
        </p:txBody>
      </p:sp>
      <p:pic>
        <p:nvPicPr>
          <p:cNvPr id="5" name="Picture 4">
            <a:extLst>
              <a:ext uri="{FF2B5EF4-FFF2-40B4-BE49-F238E27FC236}">
                <a16:creationId xmlns:a16="http://schemas.microsoft.com/office/drawing/2014/main" id="{8A0E24E5-05D4-4F90-B5A8-C8F3F726667E}"/>
              </a:ext>
            </a:extLst>
          </p:cNvPr>
          <p:cNvPicPr>
            <a:picLocks noChangeAspect="1"/>
          </p:cNvPicPr>
          <p:nvPr/>
        </p:nvPicPr>
        <p:blipFill>
          <a:blip r:embed="rId7"/>
          <a:stretch>
            <a:fillRect/>
          </a:stretch>
        </p:blipFill>
        <p:spPr>
          <a:xfrm>
            <a:off x="115388" y="3499783"/>
            <a:ext cx="1238942" cy="739800"/>
          </a:xfrm>
          <a:prstGeom prst="rect">
            <a:avLst/>
          </a:prstGeom>
        </p:spPr>
      </p:pic>
      <p:sp>
        <p:nvSpPr>
          <p:cNvPr id="25" name="Rectangle 24">
            <a:extLst>
              <a:ext uri="{FF2B5EF4-FFF2-40B4-BE49-F238E27FC236}">
                <a16:creationId xmlns:a16="http://schemas.microsoft.com/office/drawing/2014/main" id="{76442849-8D8C-4454-B84B-FACD80AF4C64}"/>
              </a:ext>
            </a:extLst>
          </p:cNvPr>
          <p:cNvSpPr/>
          <p:nvPr/>
        </p:nvSpPr>
        <p:spPr>
          <a:xfrm>
            <a:off x="6858580" y="550527"/>
            <a:ext cx="658691" cy="2454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00A78"/>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defTabSz="685783" fontAlgn="auto">
              <a:lnSpc>
                <a:spcPct val="90000"/>
              </a:lnSpc>
              <a:spcBef>
                <a:spcPts val="0"/>
              </a:spcBef>
              <a:spcAft>
                <a:spcPts val="750"/>
              </a:spcAft>
              <a:buClrTx/>
            </a:pPr>
            <a:r>
              <a:rPr lang="en-US" sz="800" kern="1200">
                <a:solidFill>
                  <a:srgbClr val="FFFFFF"/>
                </a:solidFill>
                <a:latin typeface="Arial" panose="020B0604020202020204"/>
              </a:rPr>
              <a:t>Customer</a:t>
            </a:r>
          </a:p>
        </p:txBody>
      </p:sp>
      <p:sp>
        <p:nvSpPr>
          <p:cNvPr id="27" name="TextBox 26">
            <a:extLst>
              <a:ext uri="{FF2B5EF4-FFF2-40B4-BE49-F238E27FC236}">
                <a16:creationId xmlns:a16="http://schemas.microsoft.com/office/drawing/2014/main" id="{B3A6269E-9C1E-498D-8614-A83A1B37C4CC}"/>
              </a:ext>
            </a:extLst>
          </p:cNvPr>
          <p:cNvSpPr txBox="1"/>
          <p:nvPr/>
        </p:nvSpPr>
        <p:spPr>
          <a:xfrm>
            <a:off x="5364430" y="1316067"/>
            <a:ext cx="3533047" cy="17669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Comprehensive and Consolidated Asset, Location, Customer, and Workforce master data</a:t>
            </a:r>
          </a:p>
          <a:p>
            <a:pPr marL="214313" indent="-214313" defTabSz="685783" fontAlgn="auto">
              <a:spcBef>
                <a:spcPts val="0"/>
              </a:spcBef>
              <a:spcAft>
                <a:spcPts val="0"/>
              </a:spcAft>
              <a:buClrTx/>
              <a:buFont typeface="Arial" panose="020B0604020202020204" pitchFamily="34" charset="0"/>
              <a:buChar char="•"/>
            </a:pPr>
            <a:r>
              <a:rPr lang="en-GB" sz="1050" b="0">
                <a:solidFill>
                  <a:schemeClr val="bg1"/>
                </a:solidFill>
              </a:rPr>
              <a:t>Accurate and consistent asset management </a:t>
            </a:r>
            <a:r>
              <a:rPr lang="en-US" sz="1050" b="0">
                <a:solidFill>
                  <a:schemeClr val="bg1"/>
                </a:solidFill>
              </a:rPr>
              <a:t>data </a:t>
            </a:r>
          </a:p>
          <a:p>
            <a:pPr marL="214313" indent="-214313" defTabSz="685783" fontAlgn="auto">
              <a:spcBef>
                <a:spcPts val="0"/>
              </a:spcBef>
              <a:spcAft>
                <a:spcPts val="0"/>
              </a:spcAft>
              <a:buClrTx/>
              <a:buFont typeface="Arial" panose="020B0604020202020204" pitchFamily="34" charset="0"/>
              <a:buChar char="•"/>
            </a:pPr>
            <a:r>
              <a:rPr lang="en-US" sz="1050" b="0">
                <a:solidFill>
                  <a:schemeClr val="bg1"/>
                </a:solidFill>
              </a:rPr>
              <a:t>Operational and regulatory requirements like Asset condition, Asset Health, Operational performance of Assets, Areas of Improvement of Assets </a:t>
            </a:r>
          </a:p>
          <a:p>
            <a:pPr marL="214313" indent="-214313" defTabSz="685783" fontAlgn="auto">
              <a:spcBef>
                <a:spcPts val="0"/>
              </a:spcBef>
              <a:spcAft>
                <a:spcPts val="0"/>
              </a:spcAft>
              <a:buClrTx/>
              <a:buFont typeface="Arial" panose="020B0604020202020204" pitchFamily="34" charset="0"/>
              <a:buChar char="•"/>
            </a:pPr>
            <a:r>
              <a:rPr lang="en-GB" sz="1050" b="0">
                <a:solidFill>
                  <a:schemeClr val="bg1"/>
                </a:solidFill>
              </a:rPr>
              <a:t>Historic and forecast Asset cost information</a:t>
            </a:r>
            <a:endParaRPr lang="en-US" sz="1050" b="0">
              <a:solidFill>
                <a:schemeClr val="bg1"/>
              </a:solidFill>
            </a:endParaRPr>
          </a:p>
          <a:p>
            <a:pPr marL="214313" indent="-214313" defTabSz="685783" fontAlgn="auto">
              <a:spcBef>
                <a:spcPts val="0"/>
              </a:spcBef>
              <a:spcAft>
                <a:spcPts val="0"/>
              </a:spcAft>
              <a:buClrTx/>
              <a:buFont typeface="Arial" panose="020B0604020202020204" pitchFamily="34" charset="0"/>
              <a:buChar char="•"/>
            </a:pPr>
            <a:r>
              <a:rPr lang="en-US" sz="1050" b="0">
                <a:solidFill>
                  <a:schemeClr val="bg1"/>
                </a:solidFill>
              </a:rPr>
              <a:t>Customer electric usage, customer service dashboard, outage, high usage alerts, billing, billing forecast, energy audits, Asset status updates</a:t>
            </a:r>
          </a:p>
          <a:p>
            <a:pPr marL="214313" indent="-214313" defTabSz="685783" fontAlgn="auto">
              <a:spcBef>
                <a:spcPts val="0"/>
              </a:spcBef>
              <a:spcAft>
                <a:spcPts val="0"/>
              </a:spcAft>
              <a:buClrTx/>
              <a:buFont typeface="Arial" panose="020B0604020202020204" pitchFamily="34" charset="0"/>
              <a:buChar char="•"/>
            </a:pPr>
            <a:r>
              <a:rPr lang="en-US" sz="1050" b="0"/>
              <a:t>Compliance with Data BMS </a:t>
            </a:r>
          </a:p>
        </p:txBody>
      </p:sp>
      <p:sp>
        <p:nvSpPr>
          <p:cNvPr id="28" name="Rectangle 27">
            <a:extLst>
              <a:ext uri="{FF2B5EF4-FFF2-40B4-BE49-F238E27FC236}">
                <a16:creationId xmlns:a16="http://schemas.microsoft.com/office/drawing/2014/main" id="{8D9C24FA-69A6-441B-A2D9-A7ED6E933EA9}"/>
              </a:ext>
            </a:extLst>
          </p:cNvPr>
          <p:cNvSpPr/>
          <p:nvPr/>
        </p:nvSpPr>
        <p:spPr>
          <a:xfrm>
            <a:off x="4867941" y="1337714"/>
            <a:ext cx="382699" cy="1703754"/>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MVP features</a:t>
            </a:r>
          </a:p>
        </p:txBody>
      </p:sp>
      <p:sp>
        <p:nvSpPr>
          <p:cNvPr id="29" name="Rectangle 28">
            <a:extLst>
              <a:ext uri="{FF2B5EF4-FFF2-40B4-BE49-F238E27FC236}">
                <a16:creationId xmlns:a16="http://schemas.microsoft.com/office/drawing/2014/main" id="{2DA89D69-D3EE-4FA5-8112-7A843BDE391F}"/>
              </a:ext>
            </a:extLst>
          </p:cNvPr>
          <p:cNvSpPr/>
          <p:nvPr/>
        </p:nvSpPr>
        <p:spPr>
          <a:xfrm>
            <a:off x="5442472" y="3247360"/>
            <a:ext cx="3455005" cy="1399194"/>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Consolidated integrated Asset and Location data </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Support future Asset related digital initiatives</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Reduce source systems dependency and cost</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Support regulatory demands of Asset data</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Improve Asset/Location data quality</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Avoid future cost of getting and cleansing Asset and Location data from legacy systems</a:t>
            </a:r>
          </a:p>
        </p:txBody>
      </p:sp>
      <p:sp>
        <p:nvSpPr>
          <p:cNvPr id="30" name="Rectangle 29">
            <a:extLst>
              <a:ext uri="{FF2B5EF4-FFF2-40B4-BE49-F238E27FC236}">
                <a16:creationId xmlns:a16="http://schemas.microsoft.com/office/drawing/2014/main" id="{AC191479-A929-424B-8CC8-CBD5A1AA3A74}"/>
              </a:ext>
            </a:extLst>
          </p:cNvPr>
          <p:cNvSpPr/>
          <p:nvPr/>
        </p:nvSpPr>
        <p:spPr>
          <a:xfrm>
            <a:off x="4867941" y="3247360"/>
            <a:ext cx="382699" cy="1399194"/>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Value</a:t>
            </a:r>
          </a:p>
        </p:txBody>
      </p:sp>
      <p:cxnSp>
        <p:nvCxnSpPr>
          <p:cNvPr id="31" name="Straight Connector 30">
            <a:extLst>
              <a:ext uri="{FF2B5EF4-FFF2-40B4-BE49-F238E27FC236}">
                <a16:creationId xmlns:a16="http://schemas.microsoft.com/office/drawing/2014/main" id="{80596087-2CEE-4E73-A06A-88CE2E8DE41A}"/>
              </a:ext>
            </a:extLst>
          </p:cNvPr>
          <p:cNvCxnSpPr/>
          <p:nvPr/>
        </p:nvCxnSpPr>
        <p:spPr>
          <a:xfrm>
            <a:off x="4867941" y="3132276"/>
            <a:ext cx="4029536" cy="0"/>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5" name="Graphic 34" descr="Lightbulb and gear">
            <a:extLst>
              <a:ext uri="{FF2B5EF4-FFF2-40B4-BE49-F238E27FC236}">
                <a16:creationId xmlns:a16="http://schemas.microsoft.com/office/drawing/2014/main" id="{09DE3F37-28B1-4AF1-B301-717D330013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85189" y="3530366"/>
            <a:ext cx="164480" cy="164480"/>
          </a:xfrm>
          <a:prstGeom prst="rect">
            <a:avLst/>
          </a:prstGeom>
        </p:spPr>
      </p:pic>
      <p:pic>
        <p:nvPicPr>
          <p:cNvPr id="36" name="Graphic 35" descr="Gauge">
            <a:extLst>
              <a:ext uri="{FF2B5EF4-FFF2-40B4-BE49-F238E27FC236}">
                <a16:creationId xmlns:a16="http://schemas.microsoft.com/office/drawing/2014/main" id="{0314632E-742D-4F88-9085-CBE5FC6480B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97801" y="3877536"/>
            <a:ext cx="179824" cy="179824"/>
          </a:xfrm>
          <a:prstGeom prst="rect">
            <a:avLst/>
          </a:prstGeom>
        </p:spPr>
      </p:pic>
      <p:pic>
        <p:nvPicPr>
          <p:cNvPr id="37" name="Graphic 36" descr="Shooting star">
            <a:extLst>
              <a:ext uri="{FF2B5EF4-FFF2-40B4-BE49-F238E27FC236}">
                <a16:creationId xmlns:a16="http://schemas.microsoft.com/office/drawing/2014/main" id="{9CA8E915-40AA-4D7F-8636-9374CEDC26C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33254" y="4060930"/>
            <a:ext cx="164480" cy="164480"/>
          </a:xfrm>
          <a:prstGeom prst="rect">
            <a:avLst/>
          </a:prstGeom>
        </p:spPr>
      </p:pic>
      <p:pic>
        <p:nvPicPr>
          <p:cNvPr id="38" name="Graphic 37" descr="Downward trend">
            <a:extLst>
              <a:ext uri="{FF2B5EF4-FFF2-40B4-BE49-F238E27FC236}">
                <a16:creationId xmlns:a16="http://schemas.microsoft.com/office/drawing/2014/main" id="{2BE81314-0860-431E-B4EE-F412080D87D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979432" y="3702655"/>
            <a:ext cx="164480" cy="164480"/>
          </a:xfrm>
          <a:prstGeom prst="rect">
            <a:avLst/>
          </a:prstGeom>
        </p:spPr>
      </p:pic>
      <p:pic>
        <p:nvPicPr>
          <p:cNvPr id="39" name="Graphic 38" descr="Downward trend">
            <a:extLst>
              <a:ext uri="{FF2B5EF4-FFF2-40B4-BE49-F238E27FC236}">
                <a16:creationId xmlns:a16="http://schemas.microsoft.com/office/drawing/2014/main" id="{E98BC841-D903-45FA-A688-ED3E654FB4D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47938" y="4369939"/>
            <a:ext cx="164480" cy="164480"/>
          </a:xfrm>
          <a:prstGeom prst="rect">
            <a:avLst/>
          </a:prstGeom>
        </p:spPr>
      </p:pic>
      <p:sp>
        <p:nvSpPr>
          <p:cNvPr id="40" name="TextBox 39">
            <a:extLst>
              <a:ext uri="{FF2B5EF4-FFF2-40B4-BE49-F238E27FC236}">
                <a16:creationId xmlns:a16="http://schemas.microsoft.com/office/drawing/2014/main" id="{0F82F2A1-F5C5-41F2-9153-F76D00DBC654}"/>
              </a:ext>
            </a:extLst>
          </p:cNvPr>
          <p:cNvSpPr txBox="1"/>
          <p:nvPr/>
        </p:nvSpPr>
        <p:spPr>
          <a:xfrm>
            <a:off x="5541908" y="112551"/>
            <a:ext cx="3256131" cy="45982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685783" fontAlgn="auto">
              <a:spcBef>
                <a:spcPts val="0"/>
              </a:spcBef>
              <a:spcAft>
                <a:spcPts val="0"/>
              </a:spcAft>
              <a:buClrTx/>
            </a:pPr>
            <a:r>
              <a:rPr lang="en-US" sz="1400" b="0" i="1" kern="1200">
                <a:solidFill>
                  <a:srgbClr val="FFFFFF"/>
                </a:solidFill>
                <a:latin typeface="Arial" panose="020B0604020202020204"/>
              </a:rPr>
              <a:t>Data driven workplan optimization to achieve our KPIs at lowest cost</a:t>
            </a:r>
          </a:p>
        </p:txBody>
      </p:sp>
      <p:sp>
        <p:nvSpPr>
          <p:cNvPr id="43" name="Rectangle 42">
            <a:extLst>
              <a:ext uri="{FF2B5EF4-FFF2-40B4-BE49-F238E27FC236}">
                <a16:creationId xmlns:a16="http://schemas.microsoft.com/office/drawing/2014/main" id="{523B6F5E-9F82-49F8-9FBA-F41F1CF8C2C8}"/>
              </a:ext>
            </a:extLst>
          </p:cNvPr>
          <p:cNvSpPr/>
          <p:nvPr/>
        </p:nvSpPr>
        <p:spPr>
          <a:xfrm>
            <a:off x="8180761" y="602037"/>
            <a:ext cx="646625" cy="2808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5F5A"/>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783" fontAlgn="auto">
              <a:lnSpc>
                <a:spcPct val="90000"/>
              </a:lnSpc>
              <a:spcBef>
                <a:spcPts val="0"/>
              </a:spcBef>
              <a:spcAft>
                <a:spcPts val="750"/>
              </a:spcAft>
              <a:buClrTx/>
            </a:pPr>
            <a:r>
              <a:rPr lang="en-US" sz="800" kern="1200">
                <a:solidFill>
                  <a:srgbClr val="FFFFFF"/>
                </a:solidFill>
                <a:latin typeface="Arial" panose="020B0604020202020204"/>
              </a:rPr>
              <a:t>Resource Planner</a:t>
            </a:r>
          </a:p>
        </p:txBody>
      </p:sp>
      <p:cxnSp>
        <p:nvCxnSpPr>
          <p:cNvPr id="44" name="Straight Connector 43">
            <a:extLst>
              <a:ext uri="{FF2B5EF4-FFF2-40B4-BE49-F238E27FC236}">
                <a16:creationId xmlns:a16="http://schemas.microsoft.com/office/drawing/2014/main" id="{7770D3E9-F358-4700-BA75-28F7BD20D52A}"/>
              </a:ext>
            </a:extLst>
          </p:cNvPr>
          <p:cNvCxnSpPr/>
          <p:nvPr/>
        </p:nvCxnSpPr>
        <p:spPr>
          <a:xfrm>
            <a:off x="4867941" y="1228538"/>
            <a:ext cx="4029536" cy="0"/>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85EF6184-FC06-4DB9-8D4A-A8160681C870}"/>
              </a:ext>
            </a:extLst>
          </p:cNvPr>
          <p:cNvSpPr/>
          <p:nvPr/>
        </p:nvSpPr>
        <p:spPr>
          <a:xfrm>
            <a:off x="4867823" y="506452"/>
            <a:ext cx="382699" cy="634559"/>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Users</a:t>
            </a:r>
          </a:p>
        </p:txBody>
      </p:sp>
      <p:pic>
        <p:nvPicPr>
          <p:cNvPr id="47" name="Graphic 46" descr="School boy">
            <a:extLst>
              <a:ext uri="{FF2B5EF4-FFF2-40B4-BE49-F238E27FC236}">
                <a16:creationId xmlns:a16="http://schemas.microsoft.com/office/drawing/2014/main" id="{22F18373-2DCD-4A92-8EB8-167D2B7A1B3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84736" y="821845"/>
            <a:ext cx="300146" cy="300146"/>
          </a:xfrm>
          <a:prstGeom prst="rect">
            <a:avLst/>
          </a:prstGeom>
        </p:spPr>
      </p:pic>
      <p:pic>
        <p:nvPicPr>
          <p:cNvPr id="53" name="Graphic 52" descr="School girl">
            <a:extLst>
              <a:ext uri="{FF2B5EF4-FFF2-40B4-BE49-F238E27FC236}">
                <a16:creationId xmlns:a16="http://schemas.microsoft.com/office/drawing/2014/main" id="{80C1D407-E5F8-4434-BCAC-1619FD585CA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035052" y="821920"/>
            <a:ext cx="305753" cy="305753"/>
          </a:xfrm>
          <a:prstGeom prst="rect">
            <a:avLst/>
          </a:prstGeom>
        </p:spPr>
      </p:pic>
      <p:sp>
        <p:nvSpPr>
          <p:cNvPr id="54" name="TextBox 53">
            <a:extLst>
              <a:ext uri="{FF2B5EF4-FFF2-40B4-BE49-F238E27FC236}">
                <a16:creationId xmlns:a16="http://schemas.microsoft.com/office/drawing/2014/main" id="{C4CDCF73-637E-4896-A768-2EA867422A06}"/>
              </a:ext>
            </a:extLst>
          </p:cNvPr>
          <p:cNvSpPr txBox="1"/>
          <p:nvPr/>
        </p:nvSpPr>
        <p:spPr bwMode="auto">
          <a:xfrm>
            <a:off x="4651746" y="4929311"/>
            <a:ext cx="4522565"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750" b="0">
                <a:solidFill>
                  <a:srgbClr val="FFFFFF"/>
                </a:solidFill>
              </a:rPr>
              <a:t>Lower Cost                      Improve Experience                      Improve Quality                        New Feature</a:t>
            </a:r>
            <a:endParaRPr lang="en-US" sz="750">
              <a:solidFill>
                <a:srgbClr val="FFFFFF"/>
              </a:solidFill>
              <a:cs typeface="Arial" panose="020B0604020202020204"/>
            </a:endParaRPr>
          </a:p>
        </p:txBody>
      </p:sp>
      <p:pic>
        <p:nvPicPr>
          <p:cNvPr id="55" name="Graphic 54" descr="Downward trend">
            <a:extLst>
              <a:ext uri="{FF2B5EF4-FFF2-40B4-BE49-F238E27FC236}">
                <a16:creationId xmlns:a16="http://schemas.microsoft.com/office/drawing/2014/main" id="{0AD2A83E-E587-4BE8-9200-71A9DE6822F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373825" y="4855635"/>
            <a:ext cx="238048" cy="238048"/>
          </a:xfrm>
          <a:prstGeom prst="rect">
            <a:avLst/>
          </a:prstGeom>
        </p:spPr>
      </p:pic>
      <p:pic>
        <p:nvPicPr>
          <p:cNvPr id="56" name="Graphic 55" descr="Shooting star">
            <a:extLst>
              <a:ext uri="{FF2B5EF4-FFF2-40B4-BE49-F238E27FC236}">
                <a16:creationId xmlns:a16="http://schemas.microsoft.com/office/drawing/2014/main" id="{A708FD2A-1864-433B-9A39-BD2A0AEE2A0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820530" y="4862631"/>
            <a:ext cx="266668" cy="266668"/>
          </a:xfrm>
          <a:prstGeom prst="rect">
            <a:avLst/>
          </a:prstGeom>
        </p:spPr>
      </p:pic>
      <p:pic>
        <p:nvPicPr>
          <p:cNvPr id="57" name="Graphic 56" descr="Meeting">
            <a:extLst>
              <a:ext uri="{FF2B5EF4-FFF2-40B4-BE49-F238E27FC236}">
                <a16:creationId xmlns:a16="http://schemas.microsoft.com/office/drawing/2014/main" id="{AE264BB0-CB7A-411A-AFEA-5D7EC413D66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355761" y="823601"/>
            <a:ext cx="316803" cy="316803"/>
          </a:xfrm>
          <a:prstGeom prst="rect">
            <a:avLst/>
          </a:prstGeom>
        </p:spPr>
      </p:pic>
      <p:pic>
        <p:nvPicPr>
          <p:cNvPr id="58" name="Graphic 57" descr="Lightbulb and gear">
            <a:extLst>
              <a:ext uri="{FF2B5EF4-FFF2-40B4-BE49-F238E27FC236}">
                <a16:creationId xmlns:a16="http://schemas.microsoft.com/office/drawing/2014/main" id="{ED9868EF-321F-43B4-9D77-449F084BC5F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127378" y="4854657"/>
            <a:ext cx="266668" cy="266668"/>
          </a:xfrm>
          <a:prstGeom prst="rect">
            <a:avLst/>
          </a:prstGeom>
        </p:spPr>
      </p:pic>
      <p:pic>
        <p:nvPicPr>
          <p:cNvPr id="60" name="Graphic 59" descr="Gauge">
            <a:extLst>
              <a:ext uri="{FF2B5EF4-FFF2-40B4-BE49-F238E27FC236}">
                <a16:creationId xmlns:a16="http://schemas.microsoft.com/office/drawing/2014/main" id="{D05DFA69-5D68-48F5-95A5-3864885D23CA}"/>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394741" y="4822320"/>
            <a:ext cx="277990" cy="277990"/>
          </a:xfrm>
          <a:prstGeom prst="rect">
            <a:avLst/>
          </a:prstGeom>
        </p:spPr>
      </p:pic>
      <p:pic>
        <p:nvPicPr>
          <p:cNvPr id="41" name="Graphic 40" descr="Lightbulb and gear">
            <a:extLst>
              <a:ext uri="{FF2B5EF4-FFF2-40B4-BE49-F238E27FC236}">
                <a16:creationId xmlns:a16="http://schemas.microsoft.com/office/drawing/2014/main" id="{04733BA2-FB71-48E6-9297-93117F2DF1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89295" y="3358914"/>
            <a:ext cx="164480" cy="164480"/>
          </a:xfrm>
          <a:prstGeom prst="rect">
            <a:avLst/>
          </a:prstGeom>
        </p:spPr>
      </p:pic>
    </p:spTree>
    <p:extLst>
      <p:ext uri="{BB962C8B-B14F-4D97-AF65-F5344CB8AC3E}">
        <p14:creationId xmlns:p14="http://schemas.microsoft.com/office/powerpoint/2010/main" val="574701091"/>
      </p:ext>
    </p:extLst>
  </p:cSld>
  <p:clrMapOvr>
    <a:masterClrMapping/>
  </p:clrMapOvr>
  <mc:AlternateContent xmlns:mc="http://schemas.openxmlformats.org/markup-compatibility/2006" xmlns:p14="http://schemas.microsoft.com/office/powerpoint/2010/main">
    <mc:Choice Requires="p14">
      <p:transition p14:dur="250" advTm="59">
        <p:fade/>
      </p:transition>
    </mc:Choice>
    <mc:Fallback xmlns="">
      <p:transition advTm="59">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561569-37C6-4ED0-A2B1-43BEED16DD0E}"/>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92561569-37C6-4ED0-A2B1-43BEED16DD0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F3C9AE3-6766-4CFC-8486-E9456DCFC9E6}"/>
              </a:ext>
            </a:extLst>
          </p:cNvPr>
          <p:cNvSpPr/>
          <p:nvPr>
            <p:custDataLst>
              <p:tags r:id="rId3"/>
            </p:custDataLst>
          </p:nvPr>
        </p:nvSpPr>
        <p:spPr>
          <a:xfrm>
            <a:off x="1" y="1"/>
            <a:ext cx="158750" cy="158750"/>
          </a:xfrm>
          <a:prstGeom prst="rect">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783" fontAlgn="auto">
              <a:spcBef>
                <a:spcPts val="0"/>
              </a:spcBef>
              <a:spcAft>
                <a:spcPts val="0"/>
              </a:spcAft>
              <a:buClrTx/>
            </a:pPr>
            <a:endParaRPr lang="en-US" sz="2000" kern="1200">
              <a:solidFill>
                <a:srgbClr val="FFFFFF"/>
              </a:solidFill>
              <a:latin typeface="Arial" panose="020B0604020202020204" pitchFamily="34" charset="0"/>
              <a:sym typeface="Arial" panose="020B0604020202020204" pitchFamily="34" charset="0"/>
            </a:endParaRPr>
          </a:p>
        </p:txBody>
      </p:sp>
      <p:sp>
        <p:nvSpPr>
          <p:cNvPr id="48" name="Rectangle 47">
            <a:extLst>
              <a:ext uri="{FF2B5EF4-FFF2-40B4-BE49-F238E27FC236}">
                <a16:creationId xmlns:a16="http://schemas.microsoft.com/office/drawing/2014/main" id="{4CBD80EF-9327-441E-9FC6-0483D50546F3}"/>
              </a:ext>
            </a:extLst>
          </p:cNvPr>
          <p:cNvSpPr/>
          <p:nvPr/>
        </p:nvSpPr>
        <p:spPr>
          <a:xfrm>
            <a:off x="5508407" y="572261"/>
            <a:ext cx="851505" cy="2808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5F5A"/>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783" fontAlgn="auto">
              <a:lnSpc>
                <a:spcPct val="90000"/>
              </a:lnSpc>
              <a:spcBef>
                <a:spcPts val="0"/>
              </a:spcBef>
              <a:spcAft>
                <a:spcPts val="750"/>
              </a:spcAft>
              <a:buClrTx/>
            </a:pPr>
            <a:r>
              <a:rPr lang="en-US" sz="800" kern="1200">
                <a:solidFill>
                  <a:srgbClr val="FFFFFF"/>
                </a:solidFill>
                <a:latin typeface="Arial" panose="020B0604020202020204"/>
              </a:rPr>
              <a:t>Human Resource</a:t>
            </a:r>
          </a:p>
        </p:txBody>
      </p:sp>
      <p:sp>
        <p:nvSpPr>
          <p:cNvPr id="50" name="Rectangle 49">
            <a:extLst>
              <a:ext uri="{FF2B5EF4-FFF2-40B4-BE49-F238E27FC236}">
                <a16:creationId xmlns:a16="http://schemas.microsoft.com/office/drawing/2014/main" id="{518CBE4E-46C4-4F91-BD62-72606B842BF4}"/>
              </a:ext>
            </a:extLst>
          </p:cNvPr>
          <p:cNvSpPr/>
          <p:nvPr/>
        </p:nvSpPr>
        <p:spPr>
          <a:xfrm>
            <a:off x="7335474" y="524919"/>
            <a:ext cx="792006" cy="2807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00A78"/>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defTabSz="685783" fontAlgn="auto">
              <a:lnSpc>
                <a:spcPct val="90000"/>
              </a:lnSpc>
              <a:spcBef>
                <a:spcPts val="0"/>
              </a:spcBef>
              <a:spcAft>
                <a:spcPts val="750"/>
              </a:spcAft>
              <a:buClrTx/>
            </a:pPr>
            <a:r>
              <a:rPr lang="en-US" sz="800" kern="1200">
                <a:solidFill>
                  <a:srgbClr val="FFFFFF"/>
                </a:solidFill>
                <a:latin typeface="Arial" panose="020B0604020202020204"/>
              </a:rPr>
              <a:t>Procurement</a:t>
            </a:r>
          </a:p>
        </p:txBody>
      </p:sp>
      <p:sp>
        <p:nvSpPr>
          <p:cNvPr id="70" name="TextBox 69">
            <a:extLst>
              <a:ext uri="{FF2B5EF4-FFF2-40B4-BE49-F238E27FC236}">
                <a16:creationId xmlns:a16="http://schemas.microsoft.com/office/drawing/2014/main" id="{4277002B-62B2-41E9-830E-0A64F8D36BAD}"/>
              </a:ext>
            </a:extLst>
          </p:cNvPr>
          <p:cNvSpPr txBox="1"/>
          <p:nvPr/>
        </p:nvSpPr>
        <p:spPr>
          <a:xfrm>
            <a:off x="190459" y="437123"/>
            <a:ext cx="4065890" cy="1315186"/>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GB"/>
            </a:defPPr>
            <a:lvl1pPr defTabSz="914377" fontAlgn="auto">
              <a:spcBef>
                <a:spcPts val="0"/>
              </a:spcBef>
              <a:spcAft>
                <a:spcPts val="0"/>
              </a:spcAft>
              <a:buClrTx/>
              <a:defRPr sz="1400" kern="1200">
                <a:solidFill>
                  <a:srgbClr val="55555A"/>
                </a:solidFill>
                <a:latin typeface="Arial" panose="020B0604020202020204"/>
              </a:defRPr>
            </a:lvl1pPr>
          </a:lstStyle>
          <a:p>
            <a:r>
              <a:rPr lang="en-US" sz="1050"/>
              <a:t>Use Case Description</a:t>
            </a:r>
          </a:p>
          <a:p>
            <a:r>
              <a:rPr lang="en-US" sz="1050" b="0">
                <a:solidFill>
                  <a:schemeClr val="tx1"/>
                </a:solidFill>
              </a:rPr>
              <a:t>Global workforce has multiple system of records for employee (</a:t>
            </a:r>
            <a:r>
              <a:rPr lang="en-US" sz="1050" b="0" err="1">
                <a:solidFill>
                  <a:schemeClr val="tx1"/>
                </a:solidFill>
              </a:rPr>
              <a:t>SuccessFactor</a:t>
            </a:r>
            <a:r>
              <a:rPr lang="en-US" sz="1050" b="0">
                <a:solidFill>
                  <a:schemeClr val="tx1"/>
                </a:solidFill>
              </a:rPr>
              <a:t>) and non-employee (SAP ECC, ACG, </a:t>
            </a:r>
            <a:r>
              <a:rPr lang="en-US" sz="1050" b="0" err="1">
                <a:solidFill>
                  <a:schemeClr val="tx1"/>
                </a:solidFill>
              </a:rPr>
              <a:t>FieldGlass</a:t>
            </a:r>
            <a:r>
              <a:rPr lang="en-US" sz="1050" b="0">
                <a:solidFill>
                  <a:schemeClr val="tx1"/>
                </a:solidFill>
              </a:rPr>
              <a:t>). Worker’s financial master data are managed in US/UK SAP ECC. Also, there are data quality issues (e.g. cost center) and some reporting challenges (e.g. worker counts). </a:t>
            </a:r>
            <a:r>
              <a:rPr lang="en-US" sz="1050" b="0"/>
              <a:t>Many direct interfaces with source systems are created with similar data quality improvements. </a:t>
            </a:r>
            <a:endParaRPr lang="en-US" sz="1050"/>
          </a:p>
        </p:txBody>
      </p:sp>
      <p:sp>
        <p:nvSpPr>
          <p:cNvPr id="9" name="Title 8">
            <a:extLst>
              <a:ext uri="{FF2B5EF4-FFF2-40B4-BE49-F238E27FC236}">
                <a16:creationId xmlns:a16="http://schemas.microsoft.com/office/drawing/2014/main" id="{FEAA0D6E-7A7C-43C7-ABF7-23D840D8CF46}"/>
              </a:ext>
            </a:extLst>
          </p:cNvPr>
          <p:cNvSpPr>
            <a:spLocks noGrp="1"/>
          </p:cNvSpPr>
          <p:nvPr>
            <p:ph type="title"/>
          </p:nvPr>
        </p:nvSpPr>
        <p:spPr>
          <a:xfrm>
            <a:off x="210169" y="93660"/>
            <a:ext cx="4127915" cy="277048"/>
          </a:xfrm>
        </p:spPr>
        <p:txBody>
          <a:bodyPr/>
          <a:lstStyle/>
          <a:p>
            <a:r>
              <a:rPr lang="en-US"/>
              <a:t>MDM MVP 3 – Global Workforce</a:t>
            </a:r>
          </a:p>
        </p:txBody>
      </p:sp>
      <p:sp>
        <p:nvSpPr>
          <p:cNvPr id="66" name="TextBox 65">
            <a:extLst>
              <a:ext uri="{FF2B5EF4-FFF2-40B4-BE49-F238E27FC236}">
                <a16:creationId xmlns:a16="http://schemas.microsoft.com/office/drawing/2014/main" id="{3732FE95-7FDF-46FF-BD66-87C92769B136}"/>
              </a:ext>
            </a:extLst>
          </p:cNvPr>
          <p:cNvSpPr txBox="1"/>
          <p:nvPr/>
        </p:nvSpPr>
        <p:spPr>
          <a:xfrm>
            <a:off x="210169" y="1832941"/>
            <a:ext cx="4065890" cy="140807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685783" fontAlgn="auto">
              <a:spcBef>
                <a:spcPts val="0"/>
              </a:spcBef>
              <a:spcAft>
                <a:spcPts val="0"/>
              </a:spcAft>
              <a:buClrTx/>
            </a:pPr>
            <a:r>
              <a:rPr lang="en-US" sz="1050" kern="1200">
                <a:solidFill>
                  <a:srgbClr val="55555A"/>
                </a:solidFill>
                <a:latin typeface="Arial" panose="020B0604020202020204"/>
              </a:rPr>
              <a:t>Why is this a Problem?</a:t>
            </a:r>
            <a:endParaRPr lang="en-US" sz="1050" kern="1200">
              <a:solidFill>
                <a:schemeClr val="tx1"/>
              </a:solidFill>
              <a:latin typeface="Arial" panose="020B0604020202020204"/>
            </a:endParaRPr>
          </a:p>
          <a:p>
            <a:pPr marL="214313" indent="-214313" defTabSz="685783" fontAlgn="auto">
              <a:spcBef>
                <a:spcPts val="0"/>
              </a:spcBef>
              <a:spcAft>
                <a:spcPts val="0"/>
              </a:spcAft>
              <a:buClrTx/>
              <a:buFont typeface="Arial" panose="020B0604020202020204" pitchFamily="34" charset="0"/>
              <a:buChar char="•"/>
            </a:pPr>
            <a:r>
              <a:rPr lang="en-GB" sz="1050" b="0">
                <a:solidFill>
                  <a:schemeClr val="tx1"/>
                </a:solidFill>
                <a:latin typeface="Arial" panose="020B0604020202020204" pitchFamily="34" charset="0"/>
                <a:ea typeface="MS Gothic" panose="020B0609070205080204" pitchFamily="49" charset="-128"/>
                <a:cs typeface="Arial" panose="020B0604020202020204" pitchFamily="34" charset="0"/>
              </a:rPr>
              <a:t>Worker Data Quality cost about millions of dollars per year</a:t>
            </a:r>
          </a:p>
          <a:p>
            <a:pPr marL="214313" indent="-214313" defTabSz="685783" fontAlgn="auto">
              <a:spcBef>
                <a:spcPts val="0"/>
              </a:spcBef>
              <a:spcAft>
                <a:spcPts val="0"/>
              </a:spcAft>
              <a:buClrTx/>
              <a:buFont typeface="Arial" panose="020B0604020202020204" pitchFamily="34" charset="0"/>
              <a:buChar char="•"/>
            </a:pPr>
            <a:r>
              <a:rPr lang="en-US" sz="1050" b="0">
                <a:solidFill>
                  <a:schemeClr val="tx1"/>
                </a:solidFill>
              </a:rPr>
              <a:t>No enterprise/unified persistent Worker identifier</a:t>
            </a:r>
          </a:p>
          <a:p>
            <a:pPr marL="214313" indent="-214313" defTabSz="685783" fontAlgn="auto">
              <a:spcBef>
                <a:spcPts val="0"/>
              </a:spcBef>
              <a:spcAft>
                <a:spcPts val="0"/>
              </a:spcAft>
              <a:buClrTx/>
              <a:buFont typeface="Arial" panose="020B0604020202020204" pitchFamily="34" charset="0"/>
              <a:buChar char="•"/>
            </a:pPr>
            <a:r>
              <a:rPr lang="en-US" sz="1050" b="0">
                <a:solidFill>
                  <a:schemeClr val="tx1"/>
                </a:solidFill>
                <a:latin typeface="Arial" panose="020B0604020202020204" pitchFamily="34" charset="0"/>
                <a:ea typeface="MS Gothic" panose="020B0609070205080204" pitchFamily="49" charset="-128"/>
                <a:cs typeface="Arial" panose="020B0604020202020204" pitchFamily="34" charset="0"/>
              </a:rPr>
              <a:t>~140 direct interfaces from workforce source systems causes much longer to support new or change workforce functionalities (e.g. My HR 2.0)</a:t>
            </a:r>
          </a:p>
          <a:p>
            <a:pPr marL="214313" indent="-214313" defTabSz="685783" fontAlgn="auto">
              <a:spcBef>
                <a:spcPts val="0"/>
              </a:spcBef>
              <a:spcAft>
                <a:spcPts val="0"/>
              </a:spcAft>
              <a:buClrTx/>
              <a:buFont typeface="Arial" panose="020B0604020202020204" pitchFamily="34" charset="0"/>
              <a:buChar char="•"/>
            </a:pPr>
            <a:r>
              <a:rPr lang="en-US" sz="1050" b="0">
                <a:solidFill>
                  <a:schemeClr val="tx1"/>
                </a:solidFill>
                <a:latin typeface="Arial" panose="020B0604020202020204" pitchFamily="34" charset="0"/>
                <a:ea typeface="MS Gothic" panose="020B0609070205080204" pitchFamily="49" charset="-128"/>
                <a:cs typeface="Arial" panose="020B0604020202020204" pitchFamily="34" charset="0"/>
              </a:rPr>
              <a:t>Any new workforce data need results into new direct interface</a:t>
            </a:r>
            <a:endParaRPr lang="en-GB" sz="1050" b="0">
              <a:solidFill>
                <a:schemeClr val="tx1"/>
              </a:solidFill>
              <a:latin typeface="Arial" panose="020B0604020202020204" pitchFamily="34" charset="0"/>
              <a:ea typeface="MS Gothic" panose="020B0609070205080204" pitchFamily="49" charset="-128"/>
              <a:cs typeface="Arial" panose="020B0604020202020204" pitchFamily="34" charset="0"/>
            </a:endParaRPr>
          </a:p>
          <a:p>
            <a:pPr marL="214313" indent="-214313" defTabSz="685783" fontAlgn="auto">
              <a:spcBef>
                <a:spcPts val="0"/>
              </a:spcBef>
              <a:spcAft>
                <a:spcPts val="0"/>
              </a:spcAft>
              <a:buClrTx/>
              <a:buFont typeface="Arial" panose="020B0604020202020204" pitchFamily="34" charset="0"/>
              <a:buChar char="•"/>
            </a:pPr>
            <a:r>
              <a:rPr lang="en-GB" sz="1050" b="0" kern="1200">
                <a:solidFill>
                  <a:schemeClr val="tx1"/>
                </a:solidFill>
                <a:latin typeface="Arial" panose="020B0604020202020204" pitchFamily="34" charset="0"/>
                <a:ea typeface="MS Gothic" panose="020B0609070205080204" pitchFamily="49" charset="-128"/>
                <a:cs typeface="Arial" panose="020B0604020202020204" pitchFamily="34" charset="0"/>
              </a:rPr>
              <a:t>High Workforce Support Costs </a:t>
            </a:r>
          </a:p>
        </p:txBody>
      </p:sp>
      <p:sp>
        <p:nvSpPr>
          <p:cNvPr id="12" name="Rectangle 11">
            <a:extLst>
              <a:ext uri="{FF2B5EF4-FFF2-40B4-BE49-F238E27FC236}">
                <a16:creationId xmlns:a16="http://schemas.microsoft.com/office/drawing/2014/main" id="{C4299A37-20D5-4432-8EF2-EEA427EBFF2F}"/>
              </a:ext>
            </a:extLst>
          </p:cNvPr>
          <p:cNvSpPr/>
          <p:nvPr/>
        </p:nvSpPr>
        <p:spPr>
          <a:xfrm>
            <a:off x="1438182" y="3257533"/>
            <a:ext cx="2726436" cy="1431161"/>
          </a:xfrm>
          <a:prstGeom prst="rect">
            <a:avLst/>
          </a:prstGeom>
        </p:spPr>
        <p:txBody>
          <a:bodyPr wrap="square">
            <a:spAutoFit/>
          </a:bodyPr>
          <a:lstStyle/>
          <a:p>
            <a:pPr defTabSz="685783" fontAlgn="auto">
              <a:spcBef>
                <a:spcPts val="0"/>
              </a:spcBef>
              <a:buClrTx/>
            </a:pPr>
            <a:r>
              <a:rPr lang="en-US" sz="900" b="0" i="1" kern="1200">
                <a:solidFill>
                  <a:schemeClr val="accent1">
                    <a:lumMod val="50000"/>
                  </a:schemeClr>
                </a:solidFill>
              </a:rPr>
              <a:t>“I don’t know why we don’t have accurate Cost center information for a worker?” </a:t>
            </a:r>
          </a:p>
          <a:p>
            <a:pPr defTabSz="685783" fontAlgn="auto">
              <a:spcBef>
                <a:spcPts val="0"/>
              </a:spcBef>
              <a:buClrTx/>
            </a:pPr>
            <a:r>
              <a:rPr lang="en-US" sz="900" b="0" i="1" kern="1200">
                <a:solidFill>
                  <a:schemeClr val="accent1">
                    <a:lumMod val="50000"/>
                  </a:schemeClr>
                </a:solidFill>
              </a:rPr>
              <a:t>“Are you the same John Doe who used to work as contractor last year?”</a:t>
            </a:r>
          </a:p>
          <a:p>
            <a:pPr defTabSz="685783" fontAlgn="auto">
              <a:spcBef>
                <a:spcPts val="0"/>
              </a:spcBef>
              <a:buClrTx/>
            </a:pPr>
            <a:r>
              <a:rPr lang="en-US" sz="900" b="0" i="1" kern="1200">
                <a:solidFill>
                  <a:schemeClr val="accent1">
                    <a:lumMod val="50000"/>
                  </a:schemeClr>
                </a:solidFill>
              </a:rPr>
              <a:t>“How I can I reduce the time I spend to accurately get worker count of my department?”</a:t>
            </a:r>
          </a:p>
          <a:p>
            <a:pPr defTabSz="685783" fontAlgn="auto">
              <a:spcBef>
                <a:spcPts val="0"/>
              </a:spcBef>
              <a:buClrTx/>
            </a:pPr>
            <a:r>
              <a:rPr lang="en-US" sz="900" b="0" i="1" kern="1200">
                <a:solidFill>
                  <a:schemeClr val="accent1">
                    <a:lumMod val="50000"/>
                  </a:schemeClr>
                </a:solidFill>
              </a:rPr>
              <a:t>“Why do I have to spend weeks when a contractor or an MSP becomes an employee?”</a:t>
            </a:r>
          </a:p>
        </p:txBody>
      </p:sp>
      <p:pic>
        <p:nvPicPr>
          <p:cNvPr id="5" name="Picture 4">
            <a:extLst>
              <a:ext uri="{FF2B5EF4-FFF2-40B4-BE49-F238E27FC236}">
                <a16:creationId xmlns:a16="http://schemas.microsoft.com/office/drawing/2014/main" id="{8A0E24E5-05D4-4F90-B5A8-C8F3F726667E}"/>
              </a:ext>
            </a:extLst>
          </p:cNvPr>
          <p:cNvPicPr>
            <a:picLocks noChangeAspect="1"/>
          </p:cNvPicPr>
          <p:nvPr/>
        </p:nvPicPr>
        <p:blipFill>
          <a:blip r:embed="rId7"/>
          <a:stretch>
            <a:fillRect/>
          </a:stretch>
        </p:blipFill>
        <p:spPr>
          <a:xfrm>
            <a:off x="115388" y="3499783"/>
            <a:ext cx="1238942" cy="739800"/>
          </a:xfrm>
          <a:prstGeom prst="rect">
            <a:avLst/>
          </a:prstGeom>
        </p:spPr>
      </p:pic>
      <p:sp>
        <p:nvSpPr>
          <p:cNvPr id="25" name="Rectangle 24">
            <a:extLst>
              <a:ext uri="{FF2B5EF4-FFF2-40B4-BE49-F238E27FC236}">
                <a16:creationId xmlns:a16="http://schemas.microsoft.com/office/drawing/2014/main" id="{76442849-8D8C-4454-B84B-FACD80AF4C64}"/>
              </a:ext>
            </a:extLst>
          </p:cNvPr>
          <p:cNvSpPr/>
          <p:nvPr/>
        </p:nvSpPr>
        <p:spPr>
          <a:xfrm>
            <a:off x="6565213" y="543016"/>
            <a:ext cx="519841" cy="2387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00A78"/>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defTabSz="685783" fontAlgn="auto">
              <a:lnSpc>
                <a:spcPct val="90000"/>
              </a:lnSpc>
              <a:spcBef>
                <a:spcPts val="0"/>
              </a:spcBef>
              <a:spcAft>
                <a:spcPts val="750"/>
              </a:spcAft>
              <a:buClrTx/>
            </a:pPr>
            <a:r>
              <a:rPr lang="en-US" sz="800" kern="1200">
                <a:solidFill>
                  <a:srgbClr val="FFFFFF"/>
                </a:solidFill>
                <a:latin typeface="Arial" panose="020B0604020202020204"/>
              </a:rPr>
              <a:t>Worker</a:t>
            </a:r>
          </a:p>
        </p:txBody>
      </p:sp>
      <p:sp>
        <p:nvSpPr>
          <p:cNvPr id="27" name="TextBox 26">
            <a:extLst>
              <a:ext uri="{FF2B5EF4-FFF2-40B4-BE49-F238E27FC236}">
                <a16:creationId xmlns:a16="http://schemas.microsoft.com/office/drawing/2014/main" id="{B3A6269E-9C1E-498D-8614-A83A1B37C4CC}"/>
              </a:ext>
            </a:extLst>
          </p:cNvPr>
          <p:cNvSpPr txBox="1"/>
          <p:nvPr/>
        </p:nvSpPr>
        <p:spPr>
          <a:xfrm>
            <a:off x="5364430" y="1316067"/>
            <a:ext cx="3533047" cy="17669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Comprehensive and Consolidated  Worker Profile</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Worker Position, Job, Location, Vendor, Training, Learning, Access, Succession, Competencies, Cost center, Payroll, History at one place</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Accurate worker count and worker details by department</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Unique Worker throughout the life cycle at NG</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Worker Personalized Messages</a:t>
            </a:r>
          </a:p>
          <a:p>
            <a:pPr marL="214313" indent="-214313" defTabSz="685783" fontAlgn="auto">
              <a:spcBef>
                <a:spcPts val="0"/>
              </a:spcBef>
              <a:spcAft>
                <a:spcPts val="0"/>
              </a:spcAft>
              <a:buClrTx/>
              <a:buFont typeface="Arial" panose="020B0604020202020204" pitchFamily="34" charset="0"/>
              <a:buChar char="•"/>
            </a:pPr>
            <a:r>
              <a:rPr lang="en-US" sz="1050" b="0" kern="1200">
                <a:solidFill>
                  <a:srgbClr val="FFFFFF"/>
                </a:solidFill>
              </a:rPr>
              <a:t>Worker communication and Interactions </a:t>
            </a:r>
          </a:p>
          <a:p>
            <a:pPr marL="214313" indent="-214313" defTabSz="685783" fontAlgn="auto">
              <a:spcBef>
                <a:spcPts val="0"/>
              </a:spcBef>
              <a:spcAft>
                <a:spcPts val="0"/>
              </a:spcAft>
              <a:buClrTx/>
              <a:buFont typeface="Arial" panose="020B0604020202020204" pitchFamily="34" charset="0"/>
              <a:buChar char="•"/>
            </a:pPr>
            <a:r>
              <a:rPr lang="en-US" sz="1050" b="0"/>
              <a:t>Compliance with Data BMS </a:t>
            </a:r>
            <a:endParaRPr lang="en-US" sz="1050" b="0" kern="1200">
              <a:solidFill>
                <a:srgbClr val="FFFFFF"/>
              </a:solidFill>
            </a:endParaRPr>
          </a:p>
        </p:txBody>
      </p:sp>
      <p:sp>
        <p:nvSpPr>
          <p:cNvPr id="28" name="Rectangle 27">
            <a:extLst>
              <a:ext uri="{FF2B5EF4-FFF2-40B4-BE49-F238E27FC236}">
                <a16:creationId xmlns:a16="http://schemas.microsoft.com/office/drawing/2014/main" id="{8D9C24FA-69A6-441B-A2D9-A7ED6E933EA9}"/>
              </a:ext>
            </a:extLst>
          </p:cNvPr>
          <p:cNvSpPr/>
          <p:nvPr/>
        </p:nvSpPr>
        <p:spPr>
          <a:xfrm>
            <a:off x="4867941" y="1337714"/>
            <a:ext cx="382699" cy="1703754"/>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MVP features</a:t>
            </a:r>
          </a:p>
        </p:txBody>
      </p:sp>
      <p:sp>
        <p:nvSpPr>
          <p:cNvPr id="29" name="Rectangle 28">
            <a:extLst>
              <a:ext uri="{FF2B5EF4-FFF2-40B4-BE49-F238E27FC236}">
                <a16:creationId xmlns:a16="http://schemas.microsoft.com/office/drawing/2014/main" id="{2DA89D69-D3EE-4FA5-8112-7A843BDE391F}"/>
              </a:ext>
            </a:extLst>
          </p:cNvPr>
          <p:cNvSpPr/>
          <p:nvPr/>
        </p:nvSpPr>
        <p:spPr>
          <a:xfrm>
            <a:off x="5442472" y="3247360"/>
            <a:ext cx="3533047" cy="1399194"/>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Consolidated integrated Workforce data </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Support future Workforce digital initiatives</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Reduce source systems dependency and cost</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Support regulatory demands of Workforce data</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Improve Workforce data quality</a:t>
            </a:r>
          </a:p>
          <a:p>
            <a:pPr marL="182876" lvl="1" indent="-91438" defTabSz="685783" fontAlgn="auto">
              <a:spcBef>
                <a:spcPts val="0"/>
              </a:spcBef>
              <a:spcAft>
                <a:spcPts val="300"/>
              </a:spcAft>
              <a:buClr>
                <a:srgbClr val="00148C"/>
              </a:buClr>
              <a:buSzPct val="100000"/>
              <a:buFont typeface="Trebuchet MS" panose="020B0603020202020204" pitchFamily="34" charset="0"/>
              <a:buChar char="•"/>
            </a:pPr>
            <a:r>
              <a:rPr lang="en-US" sz="900" kern="1200">
                <a:solidFill>
                  <a:srgbClr val="55555A"/>
                </a:solidFill>
                <a:latin typeface="Arial" panose="020B0604020202020204" pitchFamily="34" charset="0"/>
              </a:rPr>
              <a:t>Avoid future cost of getting and cleansing Workforce data from legacy systems</a:t>
            </a:r>
          </a:p>
        </p:txBody>
      </p:sp>
      <p:sp>
        <p:nvSpPr>
          <p:cNvPr id="30" name="Rectangle 29">
            <a:extLst>
              <a:ext uri="{FF2B5EF4-FFF2-40B4-BE49-F238E27FC236}">
                <a16:creationId xmlns:a16="http://schemas.microsoft.com/office/drawing/2014/main" id="{AC191479-A929-424B-8CC8-CBD5A1AA3A74}"/>
              </a:ext>
            </a:extLst>
          </p:cNvPr>
          <p:cNvSpPr/>
          <p:nvPr/>
        </p:nvSpPr>
        <p:spPr>
          <a:xfrm>
            <a:off x="4867941" y="3247360"/>
            <a:ext cx="382699" cy="1399194"/>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Value</a:t>
            </a:r>
          </a:p>
        </p:txBody>
      </p:sp>
      <p:cxnSp>
        <p:nvCxnSpPr>
          <p:cNvPr id="31" name="Straight Connector 30">
            <a:extLst>
              <a:ext uri="{FF2B5EF4-FFF2-40B4-BE49-F238E27FC236}">
                <a16:creationId xmlns:a16="http://schemas.microsoft.com/office/drawing/2014/main" id="{80596087-2CEE-4E73-A06A-88CE2E8DE41A}"/>
              </a:ext>
            </a:extLst>
          </p:cNvPr>
          <p:cNvCxnSpPr/>
          <p:nvPr/>
        </p:nvCxnSpPr>
        <p:spPr>
          <a:xfrm>
            <a:off x="4867941" y="3132276"/>
            <a:ext cx="4029536" cy="0"/>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4" name="Graphic 33" descr="Downward trend">
            <a:extLst>
              <a:ext uri="{FF2B5EF4-FFF2-40B4-BE49-F238E27FC236}">
                <a16:creationId xmlns:a16="http://schemas.microsoft.com/office/drawing/2014/main" id="{B143CB60-5C49-44D0-8DF6-306E128C572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33875" y="3419212"/>
            <a:ext cx="164480" cy="164480"/>
          </a:xfrm>
          <a:prstGeom prst="rect">
            <a:avLst/>
          </a:prstGeom>
        </p:spPr>
      </p:pic>
      <p:pic>
        <p:nvPicPr>
          <p:cNvPr id="35" name="Graphic 34" descr="Lightbulb and gear">
            <a:extLst>
              <a:ext uri="{FF2B5EF4-FFF2-40B4-BE49-F238E27FC236}">
                <a16:creationId xmlns:a16="http://schemas.microsoft.com/office/drawing/2014/main" id="{09DE3F37-28B1-4AF1-B301-717D3300136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30068" y="3588121"/>
            <a:ext cx="164480" cy="164480"/>
          </a:xfrm>
          <a:prstGeom prst="rect">
            <a:avLst/>
          </a:prstGeom>
        </p:spPr>
      </p:pic>
      <p:pic>
        <p:nvPicPr>
          <p:cNvPr id="36" name="Graphic 35" descr="Gauge">
            <a:extLst>
              <a:ext uri="{FF2B5EF4-FFF2-40B4-BE49-F238E27FC236}">
                <a16:creationId xmlns:a16="http://schemas.microsoft.com/office/drawing/2014/main" id="{0314632E-742D-4F88-9085-CBE5FC6480B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07156" y="3938901"/>
            <a:ext cx="179824" cy="179824"/>
          </a:xfrm>
          <a:prstGeom prst="rect">
            <a:avLst/>
          </a:prstGeom>
        </p:spPr>
      </p:pic>
      <p:pic>
        <p:nvPicPr>
          <p:cNvPr id="37" name="Graphic 36" descr="Shooting star">
            <a:extLst>
              <a:ext uri="{FF2B5EF4-FFF2-40B4-BE49-F238E27FC236}">
                <a16:creationId xmlns:a16="http://schemas.microsoft.com/office/drawing/2014/main" id="{9CA8E915-40AA-4D7F-8636-9374CEDC26C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16782" y="4126711"/>
            <a:ext cx="164480" cy="164480"/>
          </a:xfrm>
          <a:prstGeom prst="rect">
            <a:avLst/>
          </a:prstGeom>
        </p:spPr>
      </p:pic>
      <p:pic>
        <p:nvPicPr>
          <p:cNvPr id="38" name="Graphic 37" descr="Downward trend">
            <a:extLst>
              <a:ext uri="{FF2B5EF4-FFF2-40B4-BE49-F238E27FC236}">
                <a16:creationId xmlns:a16="http://schemas.microsoft.com/office/drawing/2014/main" id="{2BE81314-0860-431E-B4EE-F412080D87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79432" y="3774845"/>
            <a:ext cx="164480" cy="164480"/>
          </a:xfrm>
          <a:prstGeom prst="rect">
            <a:avLst/>
          </a:prstGeom>
        </p:spPr>
      </p:pic>
      <p:pic>
        <p:nvPicPr>
          <p:cNvPr id="39" name="Graphic 38" descr="Downward trend">
            <a:extLst>
              <a:ext uri="{FF2B5EF4-FFF2-40B4-BE49-F238E27FC236}">
                <a16:creationId xmlns:a16="http://schemas.microsoft.com/office/drawing/2014/main" id="{E98BC841-D903-45FA-A688-ED3E654FB4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23409" y="4360671"/>
            <a:ext cx="164480" cy="164480"/>
          </a:xfrm>
          <a:prstGeom prst="rect">
            <a:avLst/>
          </a:prstGeom>
        </p:spPr>
      </p:pic>
      <p:sp>
        <p:nvSpPr>
          <p:cNvPr id="40" name="TextBox 39">
            <a:extLst>
              <a:ext uri="{FF2B5EF4-FFF2-40B4-BE49-F238E27FC236}">
                <a16:creationId xmlns:a16="http://schemas.microsoft.com/office/drawing/2014/main" id="{0F82F2A1-F5C5-41F2-9153-F76D00DBC654}"/>
              </a:ext>
            </a:extLst>
          </p:cNvPr>
          <p:cNvSpPr txBox="1"/>
          <p:nvPr/>
        </p:nvSpPr>
        <p:spPr>
          <a:xfrm>
            <a:off x="5541908" y="112551"/>
            <a:ext cx="3256131" cy="45982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685783" fontAlgn="auto">
              <a:spcBef>
                <a:spcPts val="0"/>
              </a:spcBef>
              <a:spcAft>
                <a:spcPts val="0"/>
              </a:spcAft>
              <a:buClrTx/>
            </a:pPr>
            <a:r>
              <a:rPr lang="en-US" sz="1400" b="0" i="1" kern="1200">
                <a:solidFill>
                  <a:srgbClr val="FFFFFF"/>
                </a:solidFill>
                <a:latin typeface="Arial" panose="020B0604020202020204"/>
              </a:rPr>
              <a:t>Data driven workplan optimization to achieve our KPIs at lowest cost</a:t>
            </a:r>
          </a:p>
        </p:txBody>
      </p:sp>
      <p:sp>
        <p:nvSpPr>
          <p:cNvPr id="43" name="Rectangle 42">
            <a:extLst>
              <a:ext uri="{FF2B5EF4-FFF2-40B4-BE49-F238E27FC236}">
                <a16:creationId xmlns:a16="http://schemas.microsoft.com/office/drawing/2014/main" id="{523B6F5E-9F82-49F8-9FBA-F41F1CF8C2C8}"/>
              </a:ext>
            </a:extLst>
          </p:cNvPr>
          <p:cNvSpPr/>
          <p:nvPr/>
        </p:nvSpPr>
        <p:spPr>
          <a:xfrm>
            <a:off x="8180761" y="609920"/>
            <a:ext cx="646625" cy="2808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5F5A"/>
                </a:solidFill>
              </a14:hiddenFill>
            </a:ex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783" fontAlgn="auto">
              <a:lnSpc>
                <a:spcPct val="90000"/>
              </a:lnSpc>
              <a:spcBef>
                <a:spcPts val="0"/>
              </a:spcBef>
              <a:spcAft>
                <a:spcPts val="750"/>
              </a:spcAft>
              <a:buClrTx/>
            </a:pPr>
            <a:r>
              <a:rPr lang="en-US" sz="800" kern="1200">
                <a:solidFill>
                  <a:srgbClr val="FFFFFF"/>
                </a:solidFill>
                <a:latin typeface="Arial" panose="020B0604020202020204"/>
              </a:rPr>
              <a:t>Resource Planner</a:t>
            </a:r>
          </a:p>
        </p:txBody>
      </p:sp>
      <p:cxnSp>
        <p:nvCxnSpPr>
          <p:cNvPr id="44" name="Straight Connector 43">
            <a:extLst>
              <a:ext uri="{FF2B5EF4-FFF2-40B4-BE49-F238E27FC236}">
                <a16:creationId xmlns:a16="http://schemas.microsoft.com/office/drawing/2014/main" id="{7770D3E9-F358-4700-BA75-28F7BD20D52A}"/>
              </a:ext>
            </a:extLst>
          </p:cNvPr>
          <p:cNvCxnSpPr/>
          <p:nvPr/>
        </p:nvCxnSpPr>
        <p:spPr>
          <a:xfrm>
            <a:off x="4867941" y="1228538"/>
            <a:ext cx="4029536" cy="0"/>
          </a:xfrm>
          <a:prstGeom prst="line">
            <a:avLst/>
          </a:prstGeom>
          <a:ln w="952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85EF6184-FC06-4DB9-8D4A-A8160681C870}"/>
              </a:ext>
            </a:extLst>
          </p:cNvPr>
          <p:cNvSpPr/>
          <p:nvPr/>
        </p:nvSpPr>
        <p:spPr>
          <a:xfrm>
            <a:off x="4867823" y="506452"/>
            <a:ext cx="382699" cy="634559"/>
          </a:xfrm>
          <a:prstGeom prst="rect">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685783" fontAlgn="auto">
              <a:spcBef>
                <a:spcPts val="0"/>
              </a:spcBef>
              <a:spcAft>
                <a:spcPts val="0"/>
              </a:spcAft>
              <a:buClrTx/>
            </a:pPr>
            <a:r>
              <a:rPr lang="en-US" sz="1200" kern="1200">
                <a:solidFill>
                  <a:srgbClr val="55555A"/>
                </a:solidFill>
                <a:latin typeface="Arial" panose="020B0604020202020204"/>
              </a:rPr>
              <a:t>Users</a:t>
            </a:r>
          </a:p>
        </p:txBody>
      </p:sp>
      <p:pic>
        <p:nvPicPr>
          <p:cNvPr id="47" name="Graphic 46" descr="School boy">
            <a:extLst>
              <a:ext uri="{FF2B5EF4-FFF2-40B4-BE49-F238E27FC236}">
                <a16:creationId xmlns:a16="http://schemas.microsoft.com/office/drawing/2014/main" id="{22F18373-2DCD-4A92-8EB8-167D2B7A1B3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84736" y="821845"/>
            <a:ext cx="300146" cy="300146"/>
          </a:xfrm>
          <a:prstGeom prst="rect">
            <a:avLst/>
          </a:prstGeom>
        </p:spPr>
      </p:pic>
      <p:pic>
        <p:nvPicPr>
          <p:cNvPr id="53" name="Graphic 52" descr="School girl">
            <a:extLst>
              <a:ext uri="{FF2B5EF4-FFF2-40B4-BE49-F238E27FC236}">
                <a16:creationId xmlns:a16="http://schemas.microsoft.com/office/drawing/2014/main" id="{80C1D407-E5F8-4434-BCAC-1619FD585CA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667656" y="821920"/>
            <a:ext cx="305753" cy="305753"/>
          </a:xfrm>
          <a:prstGeom prst="rect">
            <a:avLst/>
          </a:prstGeom>
        </p:spPr>
      </p:pic>
      <p:sp>
        <p:nvSpPr>
          <p:cNvPr id="54" name="TextBox 53">
            <a:extLst>
              <a:ext uri="{FF2B5EF4-FFF2-40B4-BE49-F238E27FC236}">
                <a16:creationId xmlns:a16="http://schemas.microsoft.com/office/drawing/2014/main" id="{C4CDCF73-637E-4896-A768-2EA867422A06}"/>
              </a:ext>
            </a:extLst>
          </p:cNvPr>
          <p:cNvSpPr txBox="1"/>
          <p:nvPr/>
        </p:nvSpPr>
        <p:spPr bwMode="auto">
          <a:xfrm>
            <a:off x="4651746" y="4929311"/>
            <a:ext cx="4522565"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750" b="0">
                <a:solidFill>
                  <a:srgbClr val="FFFFFF"/>
                </a:solidFill>
              </a:rPr>
              <a:t>Lower Cost                      Improve Experience                      Improve Quality                        New Feature</a:t>
            </a:r>
            <a:endParaRPr lang="en-US" sz="750">
              <a:solidFill>
                <a:srgbClr val="FFFFFF"/>
              </a:solidFill>
              <a:cs typeface="Arial" panose="020B0604020202020204"/>
            </a:endParaRPr>
          </a:p>
        </p:txBody>
      </p:sp>
      <p:pic>
        <p:nvPicPr>
          <p:cNvPr id="55" name="Graphic 54" descr="Downward trend">
            <a:extLst>
              <a:ext uri="{FF2B5EF4-FFF2-40B4-BE49-F238E27FC236}">
                <a16:creationId xmlns:a16="http://schemas.microsoft.com/office/drawing/2014/main" id="{0AD2A83E-E587-4BE8-9200-71A9DE6822F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373825" y="4855635"/>
            <a:ext cx="238048" cy="238048"/>
          </a:xfrm>
          <a:prstGeom prst="rect">
            <a:avLst/>
          </a:prstGeom>
        </p:spPr>
      </p:pic>
      <p:pic>
        <p:nvPicPr>
          <p:cNvPr id="56" name="Graphic 55" descr="Shooting star">
            <a:extLst>
              <a:ext uri="{FF2B5EF4-FFF2-40B4-BE49-F238E27FC236}">
                <a16:creationId xmlns:a16="http://schemas.microsoft.com/office/drawing/2014/main" id="{A708FD2A-1864-433B-9A39-BD2A0AEE2A0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820530" y="4862631"/>
            <a:ext cx="266668" cy="266668"/>
          </a:xfrm>
          <a:prstGeom prst="rect">
            <a:avLst/>
          </a:prstGeom>
        </p:spPr>
      </p:pic>
      <p:pic>
        <p:nvPicPr>
          <p:cNvPr id="57" name="Graphic 56" descr="Meeting">
            <a:extLst>
              <a:ext uri="{FF2B5EF4-FFF2-40B4-BE49-F238E27FC236}">
                <a16:creationId xmlns:a16="http://schemas.microsoft.com/office/drawing/2014/main" id="{AE264BB0-CB7A-411A-AFEA-5D7EC413D66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355761" y="823601"/>
            <a:ext cx="316803" cy="316803"/>
          </a:xfrm>
          <a:prstGeom prst="rect">
            <a:avLst/>
          </a:prstGeom>
        </p:spPr>
      </p:pic>
      <p:pic>
        <p:nvPicPr>
          <p:cNvPr id="58" name="Graphic 57" descr="Lightbulb and gear">
            <a:extLst>
              <a:ext uri="{FF2B5EF4-FFF2-40B4-BE49-F238E27FC236}">
                <a16:creationId xmlns:a16="http://schemas.microsoft.com/office/drawing/2014/main" id="{ED9868EF-321F-43B4-9D77-449F084BC5F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127378" y="4854657"/>
            <a:ext cx="266668" cy="266668"/>
          </a:xfrm>
          <a:prstGeom prst="rect">
            <a:avLst/>
          </a:prstGeom>
        </p:spPr>
      </p:pic>
      <p:pic>
        <p:nvPicPr>
          <p:cNvPr id="60" name="Graphic 59" descr="Gauge">
            <a:extLst>
              <a:ext uri="{FF2B5EF4-FFF2-40B4-BE49-F238E27FC236}">
                <a16:creationId xmlns:a16="http://schemas.microsoft.com/office/drawing/2014/main" id="{D05DFA69-5D68-48F5-95A5-3864885D23CA}"/>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394741" y="4822320"/>
            <a:ext cx="277990" cy="277990"/>
          </a:xfrm>
          <a:prstGeom prst="rect">
            <a:avLst/>
          </a:prstGeom>
        </p:spPr>
      </p:pic>
      <p:pic>
        <p:nvPicPr>
          <p:cNvPr id="61" name="Graphic 60" descr="Research">
            <a:extLst>
              <a:ext uri="{FF2B5EF4-FFF2-40B4-BE49-F238E27FC236}">
                <a16:creationId xmlns:a16="http://schemas.microsoft.com/office/drawing/2014/main" id="{9690CD9A-C174-418E-81A0-387127AC18B2}"/>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564915" y="840235"/>
            <a:ext cx="248486" cy="248486"/>
          </a:xfrm>
          <a:prstGeom prst="rect">
            <a:avLst/>
          </a:prstGeom>
        </p:spPr>
      </p:pic>
    </p:spTree>
    <p:extLst>
      <p:ext uri="{BB962C8B-B14F-4D97-AF65-F5344CB8AC3E}">
        <p14:creationId xmlns:p14="http://schemas.microsoft.com/office/powerpoint/2010/main" val="3631471579"/>
      </p:ext>
    </p:extLst>
  </p:cSld>
  <p:clrMapOvr>
    <a:masterClrMapping/>
  </p:clrMapOvr>
  <mc:AlternateContent xmlns:mc="http://schemas.openxmlformats.org/markup-compatibility/2006" xmlns:p14="http://schemas.microsoft.com/office/powerpoint/2010/main">
    <mc:Choice Requires="p14">
      <p:transition p14:dur="250" advTm="59">
        <p:fade/>
      </p:transition>
    </mc:Choice>
    <mc:Fallback xmlns="">
      <p:transition advTm="59">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GL9azNP.L5lFb9jmqcZ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gswsbKgKaZwfoTNPooY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gswsbKgKaZwfoTNPooY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gswsbKgKaZwfoTNPooYMg"/>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Override1.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AD0F478B68CCB418629D5A3D5ECB678" ma:contentTypeVersion="12" ma:contentTypeDescription="Create a new document." ma:contentTypeScope="" ma:versionID="138bd2563609da7d5a9db950db7f5b8f">
  <xsd:schema xmlns:xsd="http://www.w3.org/2001/XMLSchema" xmlns:xs="http://www.w3.org/2001/XMLSchema" xmlns:p="http://schemas.microsoft.com/office/2006/metadata/properties" xmlns:ns3="2fb88c42-9484-45db-b1a7-c717f8961fa6" xmlns:ns4="d04553ff-5444-4dd5-ba90-cf9ec227a264" targetNamespace="http://schemas.microsoft.com/office/2006/metadata/properties" ma:root="true" ma:fieldsID="2e3ed490b5bcd9cf790df84676ec4f50" ns3:_="" ns4:_="">
    <xsd:import namespace="2fb88c42-9484-45db-b1a7-c717f8961fa6"/>
    <xsd:import namespace="d04553ff-5444-4dd5-ba90-cf9ec227a26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b88c42-9484-45db-b1a7-c717f8961f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4553ff-5444-4dd5-ba90-cf9ec227a26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2C987D-4A47-4F11-8121-36694FAAAC40}">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2fb88c42-9484-45db-b1a7-c717f8961fa6"/>
    <ds:schemaRef ds:uri="d04553ff-5444-4dd5-ba90-cf9ec227a264"/>
    <ds:schemaRef ds:uri="http://www.w3.org/XML/1998/namespace"/>
  </ds:schemaRefs>
</ds:datastoreItem>
</file>

<file path=customXml/itemProps2.xml><?xml version="1.0" encoding="utf-8"?>
<ds:datastoreItem xmlns:ds="http://schemas.openxmlformats.org/officeDocument/2006/customXml" ds:itemID="{9660FBF8-9DE6-471E-913A-3152BA878B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b88c42-9484-45db-b1a7-c717f8961fa6"/>
    <ds:schemaRef ds:uri="d04553ff-5444-4dd5-ba90-cf9ec227a2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8EE5461-4101-49A9-A707-0A90845F1E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G PowerPoint Template 16x9 2018</Template>
  <TotalTime>30261</TotalTime>
  <Words>1338</Words>
  <Application>Microsoft Office PowerPoint</Application>
  <PresentationFormat>On-screen Show (16:9)</PresentationFormat>
  <Paragraphs>149</Paragraphs>
  <Slides>5</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Trebuchet MS</vt:lpstr>
      <vt:lpstr>Wingdings</vt:lpstr>
      <vt:lpstr>NG_PPT_16x9_Generic_template-blue</vt:lpstr>
      <vt:lpstr>think-cell Slide</vt:lpstr>
      <vt:lpstr>Why Master Data Management (MDM)?</vt:lpstr>
      <vt:lpstr>MDM –  Business Drivers</vt:lpstr>
      <vt:lpstr>MDM MVP 1 – US Customer</vt:lpstr>
      <vt:lpstr>MDM MVP 2 – US Asset/Location</vt:lpstr>
      <vt:lpstr>MDM MVP 3 – Global Workforce</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homson, Fraser</dc:creator>
  <cp:lastModifiedBy>Ajwaliya, Nishit</cp:lastModifiedBy>
  <cp:revision>36</cp:revision>
  <cp:lastPrinted>2021-06-29T21:49:38Z</cp:lastPrinted>
  <dcterms:created xsi:type="dcterms:W3CDTF">2018-09-19T13:44:21Z</dcterms:created>
  <dcterms:modified xsi:type="dcterms:W3CDTF">2021-07-08T12: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1AD0F478B68CCB418629D5A3D5ECB678</vt:lpwstr>
  </property>
</Properties>
</file>